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2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3.xml" ContentType="application/vnd.openxmlformats-officedocument.themeOverride+xml"/>
  <Override PartName="/ppt/tags/tag24.xml" ContentType="application/vnd.openxmlformats-officedocument.presentationml.tags+xml"/>
  <Override PartName="/ppt/theme/themeOverride4.xml" ContentType="application/vnd.openxmlformats-officedocument.themeOverride+xml"/>
  <Override PartName="/ppt/tags/tag25.xml" ContentType="application/vnd.openxmlformats-officedocument.presentationml.tags+xml"/>
  <Override PartName="/ppt/theme/themeOverride5.xml" ContentType="application/vnd.openxmlformats-officedocument.themeOverride+xml"/>
  <Override PartName="/ppt/tags/tag26.xml" ContentType="application/vnd.openxmlformats-officedocument.presentationml.tags+xml"/>
  <Override PartName="/ppt/theme/themeOverride6.xml" ContentType="application/vnd.openxmlformats-officedocument.themeOverride+xml"/>
  <Override PartName="/ppt/tags/tag27.xml" ContentType="application/vnd.openxmlformats-officedocument.presentationml.tags+xml"/>
  <Override PartName="/ppt/theme/themeOverride7.xml" ContentType="application/vnd.openxmlformats-officedocument.themeOverride+xml"/>
  <Override PartName="/ppt/tags/tag28.xml" ContentType="application/vnd.openxmlformats-officedocument.presentationml.tags+xml"/>
  <Override PartName="/ppt/theme/themeOverride8.xml" ContentType="application/vnd.openxmlformats-officedocument.themeOverride+xml"/>
  <Override PartName="/ppt/tags/tag29.xml" ContentType="application/vnd.openxmlformats-officedocument.presentationml.tags+xml"/>
  <Override PartName="/ppt/theme/themeOverride9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0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11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2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13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4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Override15.xml" ContentType="application/vnd.openxmlformats-officedocument.themeOverride+xml"/>
  <Override PartName="/ppt/tags/tag54.xml" ContentType="application/vnd.openxmlformats-officedocument.presentationml.tags+xml"/>
  <Override PartName="/ppt/theme/themeOverride16.xml" ContentType="application/vnd.openxmlformats-officedocument.themeOverride+xml"/>
  <Override PartName="/ppt/tags/tag55.xml" ContentType="application/vnd.openxmlformats-officedocument.presentationml.tags+xml"/>
  <Override PartName="/ppt/theme/themeOverride17.xml" ContentType="application/vnd.openxmlformats-officedocument.themeOverride+xml"/>
  <Override PartName="/ppt/tags/tag56.xml" ContentType="application/vnd.openxmlformats-officedocument.presentationml.tags+xml"/>
  <Override PartName="/ppt/theme/themeOverride18.xml" ContentType="application/vnd.openxmlformats-officedocument.themeOverride+xml"/>
  <Override PartName="/ppt/tags/tag57.xml" ContentType="application/vnd.openxmlformats-officedocument.presentationml.tags+xml"/>
  <Override PartName="/ppt/theme/themeOverride19.xml" ContentType="application/vnd.openxmlformats-officedocument.themeOverride+xml"/>
  <Override PartName="/ppt/tags/tag58.xml" ContentType="application/vnd.openxmlformats-officedocument.presentationml.tags+xml"/>
  <Override PartName="/ppt/theme/themeOverride20.xml" ContentType="application/vnd.openxmlformats-officedocument.themeOverride+xml"/>
  <Override PartName="/ppt/tags/tag59.xml" ContentType="application/vnd.openxmlformats-officedocument.presentationml.tags+xml"/>
  <Override PartName="/ppt/theme/themeOverride21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22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23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24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25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Override26.xml" ContentType="application/vnd.openxmlformats-officedocument.themeOverride+xml"/>
  <Override PartName="/ppt/tags/tag72.xml" ContentType="application/vnd.openxmlformats-officedocument.presentationml.tags+xml"/>
  <Override PartName="/ppt/theme/themeOverride27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Override28.xml" ContentType="application/vnd.openxmlformats-officedocument.themeOverr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Override29.xml" ContentType="application/vnd.openxmlformats-officedocument.themeOverride+xml"/>
  <Override PartName="/ppt/tags/tag80.xml" ContentType="application/vnd.openxmlformats-officedocument.presentationml.tags+xml"/>
  <Override PartName="/ppt/theme/themeOverride30.xml" ContentType="application/vnd.openxmlformats-officedocument.themeOverride+xml"/>
  <Override PartName="/ppt/tags/tag81.xml" ContentType="application/vnd.openxmlformats-officedocument.presentationml.tags+xml"/>
  <Override PartName="/ppt/theme/themeOverride31.xml" ContentType="application/vnd.openxmlformats-officedocument.themeOverr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32.xml" ContentType="application/vnd.openxmlformats-officedocument.themeOverride+xml"/>
  <Override PartName="/ppt/tags/tag87.xml" ContentType="application/vnd.openxmlformats-officedocument.presentationml.tags+xml"/>
  <Override PartName="/ppt/theme/themeOverride33.xml" ContentType="application/vnd.openxmlformats-officedocument.themeOverride+xml"/>
  <Override PartName="/ppt/tags/tag88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heme/themeOverride34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Override35.xml" ContentType="application/vnd.openxmlformats-officedocument.themeOverride+xml"/>
  <Override PartName="/ppt/tags/tag108.xml" ContentType="application/vnd.openxmlformats-officedocument.presentationml.tags+xml"/>
  <Override PartName="/ppt/theme/themeOverride36.xml" ContentType="application/vnd.openxmlformats-officedocument.themeOverride+xml"/>
  <Override PartName="/ppt/tags/tag109.xml" ContentType="application/vnd.openxmlformats-officedocument.presentationml.tags+xml"/>
  <Override PartName="/ppt/theme/themeOverride37.xml" ContentType="application/vnd.openxmlformats-officedocument.themeOverride+xml"/>
  <Override PartName="/ppt/tags/tag110.xml" ContentType="application/vnd.openxmlformats-officedocument.presentationml.tags+xml"/>
  <Override PartName="/ppt/theme/themeOverride38.xml" ContentType="application/vnd.openxmlformats-officedocument.themeOverride+xml"/>
  <Override PartName="/ppt/tags/tag111.xml" ContentType="application/vnd.openxmlformats-officedocument.presentationml.tags+xml"/>
  <Override PartName="/ppt/theme/themeOverride39.xml" ContentType="application/vnd.openxmlformats-officedocument.themeOverride+xml"/>
  <Override PartName="/ppt/tags/tag112.xml" ContentType="application/vnd.openxmlformats-officedocument.presentationml.tags+xml"/>
  <Override PartName="/ppt/theme/themeOverride40.xml" ContentType="application/vnd.openxmlformats-officedocument.themeOverride+xml"/>
  <Override PartName="/ppt/tags/tag113.xml" ContentType="application/vnd.openxmlformats-officedocument.presentationml.tags+xml"/>
  <Override PartName="/ppt/theme/themeOverride41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Override42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Override43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Override44.xml" ContentType="application/vnd.openxmlformats-officedocument.themeOverr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45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46.xml" ContentType="application/vnd.openxmlformats-officedocument.themeOverr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47.xml" ContentType="application/vnd.openxmlformats-officedocument.themeOverride+xml"/>
  <Override PartName="/ppt/tags/tag138.xml" ContentType="application/vnd.openxmlformats-officedocument.presentationml.tags+xml"/>
  <Override PartName="/ppt/theme/themeOverride48.xml" ContentType="application/vnd.openxmlformats-officedocument.themeOverride+xml"/>
  <Override PartName="/ppt/tags/tag139.xml" ContentType="application/vnd.openxmlformats-officedocument.presentationml.tags+xml"/>
  <Override PartName="/ppt/theme/themeOverride49.xml" ContentType="application/vnd.openxmlformats-officedocument.themeOverride+xml"/>
  <Override PartName="/ppt/tags/tag140.xml" ContentType="application/vnd.openxmlformats-officedocument.presentationml.tags+xml"/>
  <Override PartName="/ppt/theme/themeOverride50.xml" ContentType="application/vnd.openxmlformats-officedocument.themeOverride+xml"/>
  <Override PartName="/ppt/tags/tag141.xml" ContentType="application/vnd.openxmlformats-officedocument.presentationml.tags+xml"/>
  <Override PartName="/ppt/theme/themeOverride51.xml" ContentType="application/vnd.openxmlformats-officedocument.themeOverride+xml"/>
  <Override PartName="/ppt/tags/tag142.xml" ContentType="application/vnd.openxmlformats-officedocument.presentationml.tags+xml"/>
  <Override PartName="/ppt/theme/themeOverride52.xml" ContentType="application/vnd.openxmlformats-officedocument.themeOverride+xml"/>
  <Override PartName="/ppt/tags/tag143.xml" ContentType="application/vnd.openxmlformats-officedocument.presentationml.tags+xml"/>
  <Override PartName="/ppt/theme/themeOverride53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54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Override55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Override56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Override57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58.xml" ContentType="application/vnd.openxmlformats-officedocument.themeOverride+xml"/>
  <Override PartName="/ppt/tags/tag156.xml" ContentType="application/vnd.openxmlformats-officedocument.presentationml.tags+xml"/>
  <Override PartName="/ppt/theme/themeOverride59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heme/themeOverride60.xml" ContentType="application/vnd.openxmlformats-officedocument.themeOverr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61.xml" ContentType="application/vnd.openxmlformats-officedocument.themeOverride+xml"/>
  <Override PartName="/ppt/tags/tag164.xml" ContentType="application/vnd.openxmlformats-officedocument.presentationml.tags+xml"/>
  <Override PartName="/ppt/theme/themeOverride62.xml" ContentType="application/vnd.openxmlformats-officedocument.themeOverride+xml"/>
  <Override PartName="/ppt/tags/tag165.xml" ContentType="application/vnd.openxmlformats-officedocument.presentationml.tags+xml"/>
  <Override PartName="/ppt/theme/themeOverride63.xml" ContentType="application/vnd.openxmlformats-officedocument.themeOverr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Override64.xml" ContentType="application/vnd.openxmlformats-officedocument.themeOverride+xml"/>
  <Override PartName="/ppt/tags/tag171.xml" ContentType="application/vnd.openxmlformats-officedocument.presentationml.tags+xml"/>
  <Override PartName="/ppt/theme/themeOverride65.xml" ContentType="application/vnd.openxmlformats-officedocument.themeOverride+xml"/>
  <Override PartName="/ppt/tags/tag17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1" r:id="rId5"/>
    <p:sldMasterId id="2147485185" r:id="rId6"/>
    <p:sldMasterId id="2147485291" r:id="rId7"/>
  </p:sldMasterIdLst>
  <p:notesMasterIdLst>
    <p:notesMasterId r:id="rId19"/>
  </p:notesMasterIdLst>
  <p:handoutMasterIdLst>
    <p:handoutMasterId r:id="rId20"/>
  </p:handoutMasterIdLst>
  <p:sldIdLst>
    <p:sldId id="302" r:id="rId8"/>
    <p:sldId id="2147480120" r:id="rId9"/>
    <p:sldId id="2147480121" r:id="rId10"/>
    <p:sldId id="498" r:id="rId11"/>
    <p:sldId id="325" r:id="rId12"/>
    <p:sldId id="2147480113" r:id="rId13"/>
    <p:sldId id="1803" r:id="rId14"/>
    <p:sldId id="1798" r:id="rId15"/>
    <p:sldId id="329" r:id="rId16"/>
    <p:sldId id="262" r:id="rId17"/>
    <p:sldId id="2147479710" r:id="rId18"/>
  </p:sldIdLst>
  <p:sldSz cx="12192000" cy="6858000"/>
  <p:notesSz cx="6858000" cy="9144000"/>
  <p:defaultTextStyle>
    <a:defPPr>
      <a:defRPr lang="en-U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B098B8-41EE-CC80-94ED-82D6ADB0F20F}" name="Cilliers, Ulrika" initials="CU" userId="S::Ulrika.Cilliers@savethechildren.org::f121577e-124d-42fc-ab7c-777fc1172a2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00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7066" autoAdjust="0"/>
  </p:normalViewPr>
  <p:slideViewPr>
    <p:cSldViewPr snapToGrid="0">
      <p:cViewPr varScale="1">
        <p:scale>
          <a:sx n="45" d="100"/>
          <a:sy n="45" d="100"/>
        </p:scale>
        <p:origin x="1404" y="52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dir, Ayesha" userId="5970f8c9-b43c-4b1c-8b68-56afef961e94" providerId="ADAL" clId="{44983659-38D6-43EA-84FF-C65D8C1D6861}"/>
    <pc:docChg chg="delSld modSld">
      <pc:chgData name="Kadir, Ayesha" userId="5970f8c9-b43c-4b1c-8b68-56afef961e94" providerId="ADAL" clId="{44983659-38D6-43EA-84FF-C65D8C1D6861}" dt="2023-10-03T11:36:28.904" v="2" actId="47"/>
      <pc:docMkLst>
        <pc:docMk/>
      </pc:docMkLst>
      <pc:sldChg chg="del">
        <pc:chgData name="Kadir, Ayesha" userId="5970f8c9-b43c-4b1c-8b68-56afef961e94" providerId="ADAL" clId="{44983659-38D6-43EA-84FF-C65D8C1D6861}" dt="2023-10-03T11:36:28.227" v="1" actId="47"/>
        <pc:sldMkLst>
          <pc:docMk/>
          <pc:sldMk cId="20534896" sldId="277"/>
        </pc:sldMkLst>
      </pc:sldChg>
      <pc:sldChg chg="del">
        <pc:chgData name="Kadir, Ayesha" userId="5970f8c9-b43c-4b1c-8b68-56afef961e94" providerId="ADAL" clId="{44983659-38D6-43EA-84FF-C65D8C1D6861}" dt="2023-10-03T11:36:28.904" v="2" actId="47"/>
        <pc:sldMkLst>
          <pc:docMk/>
          <pc:sldMk cId="3649682890" sldId="278"/>
        </pc:sldMkLst>
      </pc:sldChg>
      <pc:sldChg chg="modNotesTx">
        <pc:chgData name="Kadir, Ayesha" userId="5970f8c9-b43c-4b1c-8b68-56afef961e94" providerId="ADAL" clId="{44983659-38D6-43EA-84FF-C65D8C1D6861}" dt="2023-10-03T11:36:15.581" v="0" actId="6549"/>
        <pc:sldMkLst>
          <pc:docMk/>
          <pc:sldMk cId="1766611753" sldId="214748011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C5FF01-0D94-45B5-A6AA-51FA22C2D7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BE48C1-6ABD-41A7-94C6-4068055F5DA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5A84D9-8C54-44BB-BCB8-972D00B48865}" type="datetimeFigureOut">
              <a:rPr lang="en-UK" smtClean="0"/>
              <a:t>10/03/2023</a:t>
            </a:fld>
            <a:endParaRPr lang="en-U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D394F4-9201-492F-B8CE-18E39EC1BF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8ED2BF-2B65-42C4-97F8-F99B793B91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F2DD2-20A7-4DD7-8E44-09CE7E29F5C4}" type="slidenum">
              <a:rPr lang="en-UK" smtClean="0"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117218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F38F60-DFED-40C2-929D-904E92906FEC}" type="datetimeFigureOut">
              <a:rPr lang="en-UK" smtClean="0"/>
              <a:t>10/03/2023</a:t>
            </a:fld>
            <a:endParaRPr lang="en-U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K"/>
              <a:t>Click to edit Master text styles</a:t>
            </a:r>
          </a:p>
          <a:p>
            <a:pPr lvl="1"/>
            <a:r>
              <a:rPr lang="en-UK"/>
              <a:t>Second level</a:t>
            </a:r>
          </a:p>
          <a:p>
            <a:pPr lvl="2"/>
            <a:r>
              <a:rPr lang="en-UK"/>
              <a:t>Third level</a:t>
            </a:r>
          </a:p>
          <a:p>
            <a:pPr lvl="3"/>
            <a:r>
              <a:rPr lang="en-UK"/>
              <a:t>Fourth level</a:t>
            </a:r>
          </a:p>
          <a:p>
            <a:pPr lvl="4"/>
            <a:r>
              <a:rPr lang="en-U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63DF67-57A7-4E60-B412-2E26C2D4287B}" type="slidenum">
              <a:rPr lang="en-UK" smtClean="0"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92925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o.int/emergencies/situations/drought-food-insecurity-greater-horn-of-africa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have 20 minutes to talk about the trends in public health emergencies across the contin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 will break this down into trends related to drivers of public health emergenc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view what this means for children, and how it impacts health service delive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Photo: Southern areas of Somalia were hit by floods in May 2023, which affected almost half a million people. Nearly 219,00 people, including 118,000 children, were displaced by the floods. Also, flood water damaged basic infrastructure, home, agricultural land and basic services facilities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1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944622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2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358416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3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695568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limate change is manifesting in a range of ways, </a:t>
            </a:r>
          </a:p>
          <a:p>
            <a:r>
              <a:rPr lang="en-GB" dirty="0"/>
              <a:t>extreme weather events like the droughts, and flooding</a:t>
            </a:r>
          </a:p>
          <a:p>
            <a:r>
              <a:rPr lang="en-GB" dirty="0"/>
              <a:t>El Nino – expected to bring increased rains across the continent</a:t>
            </a:r>
          </a:p>
          <a:p>
            <a:r>
              <a:rPr lang="en-GB" dirty="0"/>
              <a:t>Immediate and long-term changes, both of which are reflected by changes in behaviour and social arrang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4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914720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605D8-02BE-49F2-80BA-A3B655FE29E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181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6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6212913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Drought and food insecurity in the greater Horn of Africa (who.int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7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7777454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71299-ECAC-4B37-B160-6B2AC8CA6A1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2338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3DF67-57A7-4E60-B412-2E26C2D4287B}" type="slidenum">
              <a:rPr lang="en-UK" smtClean="0"/>
              <a:t>10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775000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7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8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7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7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4" Type="http://schemas.openxmlformats.org/officeDocument/2006/relationships/image" Target="../media/image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4" Type="http://schemas.openxmlformats.org/officeDocument/2006/relationships/image" Target="../media/image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4" Type="http://schemas.openxmlformats.org/officeDocument/2006/relationships/image" Target="../media/image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4" Type="http://schemas.openxmlformats.org/officeDocument/2006/relationships/image" Target="../media/image4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4" Type="http://schemas.openxmlformats.org/officeDocument/2006/relationships/image" Target="../media/image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6" Type="http://schemas.openxmlformats.org/officeDocument/2006/relationships/image" Target="../media/image1.emf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4" Type="http://schemas.openxmlformats.org/officeDocument/2006/relationships/image" Target="../media/image4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themeOverride" Target="../theme/themeOverride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09.xml"/><Relationship Id="rId1" Type="http://schemas.openxmlformats.org/officeDocument/2006/relationships/themeOverride" Target="../theme/themeOverride3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themeOverride" Target="../theme/themeOverride3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11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12.xml"/><Relationship Id="rId1" Type="http://schemas.openxmlformats.org/officeDocument/2006/relationships/themeOverride" Target="../theme/themeOverride3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themeOverride" Target="../theme/themeOverride4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4.xml"/><Relationship Id="rId1" Type="http://schemas.openxmlformats.org/officeDocument/2006/relationships/themeOverride" Target="../theme/themeOverride41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6.xml"/><Relationship Id="rId1" Type="http://schemas.openxmlformats.org/officeDocument/2006/relationships/themeOverride" Target="../theme/themeOverride4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18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20.xml"/><Relationship Id="rId1" Type="http://schemas.openxmlformats.org/officeDocument/2006/relationships/themeOverride" Target="../theme/themeOverride4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45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4" Type="http://schemas.openxmlformats.org/officeDocument/2006/relationships/image" Target="../media/image4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Relationship Id="rId6" Type="http://schemas.openxmlformats.org/officeDocument/2006/relationships/image" Target="../media/image2.emf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6.xml"/><Relationship Id="rId4" Type="http://schemas.openxmlformats.org/officeDocument/2006/relationships/image" Target="../media/image4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4" Type="http://schemas.openxmlformats.org/officeDocument/2006/relationships/image" Target="../media/image4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4" Type="http://schemas.openxmlformats.org/officeDocument/2006/relationships/image" Target="../media/image4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Relationship Id="rId4" Type="http://schemas.openxmlformats.org/officeDocument/2006/relationships/image" Target="../media/image4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4.xml"/><Relationship Id="rId4" Type="http://schemas.openxmlformats.org/officeDocument/2006/relationships/image" Target="../media/image4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4" Type="http://schemas.openxmlformats.org/officeDocument/2006/relationships/image" Target="../media/image4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4" Type="http://schemas.openxmlformats.org/officeDocument/2006/relationships/image" Target="../media/image4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38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40.xml"/><Relationship Id="rId1" Type="http://schemas.openxmlformats.org/officeDocument/2006/relationships/themeOverride" Target="../theme/themeOverride4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41.xml"/><Relationship Id="rId1" Type="http://schemas.openxmlformats.org/officeDocument/2006/relationships/themeOverride" Target="../theme/themeOverride5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42.xml"/><Relationship Id="rId1" Type="http://schemas.openxmlformats.org/officeDocument/2006/relationships/themeOverride" Target="../theme/themeOverride51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43.xml"/><Relationship Id="rId1" Type="http://schemas.openxmlformats.org/officeDocument/2006/relationships/themeOverride" Target="../theme/themeOverride5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44.xml"/><Relationship Id="rId1" Type="http://schemas.openxmlformats.org/officeDocument/2006/relationships/themeOverride" Target="../theme/themeOverride53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8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46.xml"/><Relationship Id="rId1" Type="http://schemas.openxmlformats.org/officeDocument/2006/relationships/themeOverride" Target="../theme/themeOverride54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48.xml"/><Relationship Id="rId1" Type="http://schemas.openxmlformats.org/officeDocument/2006/relationships/themeOverride" Target="../theme/themeOverride55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50.xml"/><Relationship Id="rId1" Type="http://schemas.openxmlformats.org/officeDocument/2006/relationships/themeOverride" Target="../theme/themeOverride5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hemeOverride" Target="../theme/themeOverride57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Relationship Id="rId4" Type="http://schemas.openxmlformats.org/officeDocument/2006/relationships/image" Target="../media/image4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4.xml"/><Relationship Id="rId6" Type="http://schemas.openxmlformats.org/officeDocument/2006/relationships/image" Target="../media/image2.emf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56.x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0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7.xml"/><Relationship Id="rId1" Type="http://schemas.openxmlformats.org/officeDocument/2006/relationships/themeOverride" Target="../theme/themeOverride59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1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8.xml"/><Relationship Id="rId4" Type="http://schemas.openxmlformats.org/officeDocument/2006/relationships/image" Target="../media/image4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9.xml"/><Relationship Id="rId4" Type="http://schemas.openxmlformats.org/officeDocument/2006/relationships/image" Target="../media/image4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0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1.xml"/><Relationship Id="rId4" Type="http://schemas.openxmlformats.org/officeDocument/2006/relationships/image" Target="../media/image4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2.emf"/><Relationship Id="rId2" Type="http://schemas.openxmlformats.org/officeDocument/2006/relationships/tags" Target="../tags/tag162.xml"/><Relationship Id="rId1" Type="http://schemas.openxmlformats.org/officeDocument/2006/relationships/themeOverride" Target="../theme/themeOverride6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hemeOverride" Target="../theme/themeOverride61.x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7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8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66.xml"/><Relationship Id="rId1" Type="http://schemas.openxmlformats.org/officeDocument/2006/relationships/themeOverride" Target="../theme/themeOverride63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9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0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0.xml"/><Relationship Id="rId4" Type="http://schemas.openxmlformats.org/officeDocument/2006/relationships/image" Target="../media/image7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71.xml"/><Relationship Id="rId1" Type="http://schemas.openxmlformats.org/officeDocument/2006/relationships/themeOverride" Target="../theme/themeOverride64.x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3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emf"/><Relationship Id="rId2" Type="http://schemas.openxmlformats.org/officeDocument/2006/relationships/tags" Target="../tags/tag172.xml"/><Relationship Id="rId1" Type="http://schemas.openxmlformats.org/officeDocument/2006/relationships/themeOverride" Target="../theme/themeOverride6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4.bin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6" Type="http://schemas.openxmlformats.org/officeDocument/2006/relationships/image" Target="../media/image2.emf"/><Relationship Id="rId5" Type="http://schemas.openxmlformats.org/officeDocument/2006/relationships/image" Target="../media/image12.png"/><Relationship Id="rId4" Type="http://schemas.openxmlformats.org/officeDocument/2006/relationships/image" Target="../media/image10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4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54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55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56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60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8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62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64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66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6" Type="http://schemas.openxmlformats.org/officeDocument/2006/relationships/image" Target="../media/image1.emf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4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72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4" Type="http://schemas.openxmlformats.org/officeDocument/2006/relationships/image" Target="../media/image4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BDF8-3294-F243-8E02-B6435E5E5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268413"/>
            <a:ext cx="9144000" cy="224155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6F2B1C-7582-114C-B870-5C836A6805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237088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529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165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362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81470" y="1115416"/>
            <a:ext cx="214513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039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038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46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7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460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065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2104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314280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814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3620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81470" y="1115416"/>
            <a:ext cx="214513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1134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337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1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442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628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814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2104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093904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089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30000" y="2614290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98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15938" y="3937222"/>
            <a:ext cx="11233150" cy="9032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>
              <a:lnSpc>
                <a:spcPct val="93000"/>
              </a:lnSpc>
              <a:defRPr sz="6000" baseline="0">
                <a:solidFill>
                  <a:schemeClr val="bg1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5C31DA-F392-457D-82A9-17F28C66B4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27134" y="1672431"/>
            <a:ext cx="4139610" cy="87931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15938" y="4952271"/>
            <a:ext cx="11233150" cy="48333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30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7742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A29B1-FF2C-5D44-9076-0C2ECB267F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12C061-2248-9248-9E14-C827AD0EA2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B412C-FF15-0145-9A45-54D2DADA8F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rot="5400000">
            <a:off x="-439372" y="5614935"/>
            <a:ext cx="1539875" cy="39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0315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AF06B2-A159-4635-BB05-7C5690738B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58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AF06B2-A159-4635-BB05-7C5690738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7EBDF8-3294-F243-8E02-B6435E5E5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268413"/>
            <a:ext cx="9144000" cy="2241550"/>
          </a:xfrm>
          <a:prstGeom prst="rect">
            <a:avLst/>
          </a:prstGeom>
        </p:spPr>
        <p:txBody>
          <a:bodyPr vert="horz" anchor="b"/>
          <a:lstStyle>
            <a:lvl1pPr algn="ctr"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6F2B1C-7582-114C-B870-5C836A6805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7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2BC856-39D0-46D9-A4E5-0662DA28E6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629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2BC856-39D0-46D9-A4E5-0662DA28E6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5CB6B-B954-8D4C-A951-369C766E6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buClr>
                <a:schemeClr val="tx1"/>
              </a:buClr>
              <a:defRPr lang="en-US" sz="2400" b="0" i="0" dirty="0">
                <a:solidFill>
                  <a:srgbClr val="000000"/>
                </a:solidFill>
              </a:defRPr>
            </a:lvl2pPr>
            <a:lvl3pPr>
              <a:buClr>
                <a:schemeClr val="tx1"/>
              </a:buClr>
              <a:defRPr lang="en-US" sz="2200" b="0" i="0" dirty="0">
                <a:solidFill>
                  <a:srgbClr val="000000"/>
                </a:solidFill>
              </a:defRPr>
            </a:lvl3pPr>
            <a:lvl4pPr>
              <a:buClr>
                <a:schemeClr val="tx1"/>
              </a:buClr>
              <a:defRPr lang="en-US" sz="1800" b="0" i="0" dirty="0">
                <a:solidFill>
                  <a:srgbClr val="000000"/>
                </a:solidFill>
              </a:defRPr>
            </a:lvl4pPr>
            <a:lvl5pPr>
              <a:buClr>
                <a:schemeClr val="tx1"/>
              </a:buClr>
              <a:defRPr lang="x-none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har char="•"/>
            </a:pPr>
            <a:r>
              <a:rPr lang="en-US"/>
              <a:t>Fifth level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A6A816-062C-43A9-9196-6111219BE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5D8B5-D46C-4310-B504-084A47F4E446}"/>
              </a:ext>
            </a:extLst>
          </p:cNvPr>
          <p:cNvSpPr txBox="1">
            <a:spLocks/>
          </p:cNvSpPr>
          <p:nvPr userDrawn="1"/>
        </p:nvSpPr>
        <p:spPr>
          <a:xfrm>
            <a:off x="813816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x-none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000000"/>
                </a:solidFill>
              </a:rPr>
              <a:pPr/>
              <a:t>‹#›</a:t>
            </a:fld>
            <a:endParaRPr lang="x-none">
              <a:solidFill>
                <a:srgbClr val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8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179746-4118-44BF-9E20-A0D054D3A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7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179746-4118-44BF-9E20-A0D054D3A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1507C89-5F1B-9D47-9498-3C7F4510D874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F2A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23481-21D1-8E46-828B-4243BA12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x-none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386036-21EF-4A07-A6CE-792BE934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678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153A83-0E50-4FEF-91C3-E5341341D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13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153A83-0E50-4FEF-91C3-E5341341D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5BC083B-0971-EE44-8965-5C1B1EAA73A2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A57F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DC165-D8C6-2C4D-87D0-E01DC0039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x-none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69DD1-EE61-4EBD-99D0-03078588F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7037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2EFD81F-9659-4D00-9C04-F1FD90D71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76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2EFD81F-9659-4D00-9C04-F1FD90D71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7A1ED10-E662-2740-A36A-71074A6507B1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00B2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3D6C7-3B5C-BB42-9770-788A389381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x-none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D9912-D5BE-49AD-A7AB-3DC8A9B05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4554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2458C6-F382-4BEC-AAEB-DCE610D9E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98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2458C6-F382-4BEC-AAEB-DCE610D9E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504226F4-18C7-4D48-8BBF-042243518ECB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71CC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D888EF-8511-8447-84C9-54FE5B1BC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x-none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5AA1C7-A8C7-4EE0-83BE-36035D84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699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66F111-B2CF-4C70-A0B5-0D2308CD7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66F111-B2CF-4C70-A0B5-0D2308CD7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4830938-9E79-4F9C-AB82-F47C6100B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257175"/>
            <a:ext cx="11501438" cy="6051550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x-non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72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6D6270-7829-4332-A7BC-E3AC97FD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6D6270-7829-4332-A7BC-E3AC97FD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32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9A2EFC-4F50-4E18-8250-5BD08AD54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9A2EFC-4F50-4E18-8250-5BD08AD54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C8B1309-8B12-4F57-B05E-971E0657CF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59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BF375E-9C20-4C1B-BCBA-BA92C8B8E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BF375E-9C20-4C1B-BCBA-BA92C8B8E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3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D86D15-51D2-A24C-B04F-939835159E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9425" y="576470"/>
            <a:ext cx="11233150" cy="56004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1625783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3394B5-B44F-4336-88A0-6AE4BD12B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3394B5-B44F-4336-88A0-6AE4BD12B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A29B1-FF2C-5D44-9076-0C2ECB267F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 anchor="ctr"/>
          <a:lstStyle>
            <a:lvl1pPr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12C061-2248-9248-9E14-C827AD0EA2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 lIns="91440" tIns="45720" rIns="91440" bIns="45720" rtlCol="0">
            <a:normAutofit/>
          </a:bodyPr>
          <a:lstStyle>
            <a:lvl1pPr>
              <a:defRPr lang="en-US" sz="2400" b="0" i="0"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buClr>
                <a:schemeClr val="tx1"/>
              </a:buClr>
              <a:defRPr lang="en-US" sz="2400" b="0" i="0"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buClr>
                <a:schemeClr val="tx1"/>
              </a:buClr>
              <a:defRPr lang="en-US" sz="2200" b="0" i="0"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buClr>
                <a:schemeClr val="tx1"/>
              </a:buClr>
              <a:defRPr lang="en-US" sz="1800" b="0" i="0">
                <a:solidFill>
                  <a:schemeClr val="tx1"/>
                </a:solidFill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buClr>
                <a:schemeClr val="tx1"/>
              </a:buClr>
              <a:defRPr lang="x-none" sz="1800" b="0" i="0" dirty="0"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har char="•"/>
            </a:pPr>
            <a:r>
              <a:rPr lang="en-US"/>
              <a:t>Fifth level</a:t>
            </a:r>
            <a:endParaRPr lang="x-non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B412C-FF15-0145-9A45-54D2DADA8F4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 rot="5400000">
            <a:off x="-439372" y="5614935"/>
            <a:ext cx="1539875" cy="396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813816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3293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478D26-3F9A-4064-AE38-2CC79CF7A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478D26-3F9A-4064-AE38-2CC79CF7A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D86D15-51D2-A24C-B04F-939835159E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9425" y="576470"/>
            <a:ext cx="11233150" cy="5600493"/>
          </a:xfrm>
          <a:prstGeom prst="rect">
            <a:avLst/>
          </a:prstGeom>
        </p:spPr>
        <p:txBody>
          <a:bodyPr vert="eaVert" lIns="91440" tIns="45720" rIns="91440" bIns="45720" rtlCol="0">
            <a:normAutofit/>
          </a:bodyPr>
          <a:lstStyle>
            <a:lvl1pPr>
              <a:defRPr lang="en-US" sz="2400" b="0" i="0" dirty="0"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400" b="0" i="0" dirty="0"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2200" b="0" i="0" dirty="0"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800" b="0" i="0" dirty="0">
                <a:solidFill>
                  <a:schemeClr val="tx1"/>
                </a:solidFill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x-none" sz="1800" b="0" i="0" dirty="0"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7496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92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25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2104" y="2164079"/>
            <a:ext cx="10986940" cy="39218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793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832104" y="1544274"/>
            <a:ext cx="3250296" cy="1495794"/>
          </a:xfrm>
          <a:noFill/>
        </p:spPr>
        <p:txBody>
          <a:bodyPr vert="horz" wrap="square" lIns="9144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4416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89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3826800"/>
            <a:ext cx="10734696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832104" y="3680016"/>
            <a:ext cx="1136309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189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338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45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104" y="640184"/>
            <a:ext cx="5812536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374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061289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05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2104" y="1785600"/>
            <a:ext cx="4186296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64563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1804650"/>
            <a:ext cx="604544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841818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259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2989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061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98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1248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471542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293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471542" cy="905256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0632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82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207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EBDF8-3294-F243-8E02-B6435E5E5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268413"/>
            <a:ext cx="9144000" cy="224155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6F2B1C-7582-114C-B870-5C836A6805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4086960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3826333"/>
            <a:ext cx="10731096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417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832104" y="625475"/>
            <a:ext cx="932688" cy="9326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3826333"/>
            <a:ext cx="10731096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2356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08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19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174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42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itle 6"/>
          <p:cNvSpPr txBox="1">
            <a:spLocks/>
          </p:cNvSpPr>
          <p:nvPr userDrawn="1"/>
        </p:nvSpPr>
        <p:spPr>
          <a:xfrm>
            <a:off x="832104" y="2973076"/>
            <a:ext cx="300646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35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7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Freeform 92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923544 w 12193200"/>
                <a:gd name="connsiteY0" fmla="*/ 622801 h 6858000"/>
                <a:gd name="connsiteX1" fmla="*/ 923544 w 12193200"/>
                <a:gd name="connsiteY1" fmla="*/ 6559941 h 6858000"/>
                <a:gd name="connsiteX2" fmla="*/ 11727605 w 12193200"/>
                <a:gd name="connsiteY2" fmla="*/ 6559941 h 6858000"/>
                <a:gd name="connsiteX3" fmla="*/ 11727605 w 12193200"/>
                <a:gd name="connsiteY3" fmla="*/ 622801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923544" y="622801"/>
                  </a:moveTo>
                  <a:lnTo>
                    <a:pt x="923544" y="6559941"/>
                  </a:lnTo>
                  <a:lnTo>
                    <a:pt x="11727605" y="6559941"/>
                  </a:lnTo>
                  <a:lnTo>
                    <a:pt x="11727605" y="622801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0EAEA">
                <a:alpha val="71000"/>
              </a:srgb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94" name="Straight Connector 93"/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>
              <a:off x="-600" y="9354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-600" y="124807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-600" y="156071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-600" y="186239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-600" y="216408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-600" y="246576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-600" y="276744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-600" y="30691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-600" y="33708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-600" y="36725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-600" y="39741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-600" y="42758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-600" y="45775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-600" y="48792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-600" y="518092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-600" y="548260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>
              <a:off x="-600" y="578428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-600" y="608596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utter space"/>
            <p:cNvGrpSpPr/>
            <p:nvPr/>
          </p:nvGrpSpPr>
          <p:grpSpPr>
            <a:xfrm>
              <a:off x="1506574" y="623550"/>
              <a:ext cx="9638000" cy="5462419"/>
              <a:chOff x="1277000" y="623550"/>
              <a:chExt cx="9638000" cy="5537047"/>
            </a:xfrm>
          </p:grpSpPr>
          <p:sp>
            <p:nvSpPr>
              <p:cNvPr id="125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4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ootnote measure"/>
            <p:cNvSpPr>
              <a:spLocks noChangeArrowheads="1"/>
            </p:cNvSpPr>
            <p:nvPr/>
          </p:nvSpPr>
          <p:spPr bwMode="auto">
            <a:xfrm>
              <a:off x="923544" y="6085968"/>
              <a:ext cx="10804061" cy="452216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6" name="Five column measure"/>
            <p:cNvGrpSpPr/>
            <p:nvPr/>
          </p:nvGrpSpPr>
          <p:grpSpPr>
            <a:xfrm>
              <a:off x="923544" y="5895360"/>
              <a:ext cx="10804061" cy="79536"/>
              <a:chOff x="629400" y="5975122"/>
              <a:chExt cx="10933200" cy="79536"/>
            </a:xfrm>
          </p:grpSpPr>
          <p:sp>
            <p:nvSpPr>
              <p:cNvPr id="120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7" name="Live area"/>
            <p:cNvSpPr/>
            <p:nvPr/>
          </p:nvSpPr>
          <p:spPr>
            <a:xfrm>
              <a:off x="923544" y="2164080"/>
              <a:ext cx="10804061" cy="392188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DA291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8" name="ee4pFootnotes"/>
            <p:cNvSpPr>
              <a:spLocks noChangeArrowheads="1"/>
            </p:cNvSpPr>
            <p:nvPr/>
          </p:nvSpPr>
          <p:spPr bwMode="auto">
            <a:xfrm>
              <a:off x="923544" y="6085968"/>
              <a:ext cx="9030914" cy="41549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1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2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3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endParaRPr lang="en-US" sz="1000">
                <a:solidFill>
                  <a:srgbClr val="7F7F7F"/>
                </a:solidFill>
              </a:endParaRP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119" name="Whitespace measure"/>
            <p:cNvSpPr>
              <a:spLocks noChangeArrowheads="1"/>
            </p:cNvSpPr>
            <p:nvPr/>
          </p:nvSpPr>
          <p:spPr bwMode="auto">
            <a:xfrm>
              <a:off x="923544" y="1560712"/>
              <a:ext cx="10804061" cy="603368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74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15938" y="3937222"/>
            <a:ext cx="11233150" cy="9032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>
              <a:lnSpc>
                <a:spcPct val="93000"/>
              </a:lnSpc>
              <a:defRPr sz="6000" baseline="0">
                <a:solidFill>
                  <a:schemeClr val="bg1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5C31DA-F392-457D-82A9-17F28C66B4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27134" y="1672431"/>
            <a:ext cx="4139610" cy="879310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15938" y="4952271"/>
            <a:ext cx="11233150" cy="48333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30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7405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5CB6B-B954-8D4C-A951-369C766E6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A6A816-062C-43A9-9196-6111219BE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491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93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2104" y="2164080"/>
            <a:ext cx="10986940" cy="39218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85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832104" y="2158987"/>
            <a:ext cx="3541896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1227048"/>
            <a:ext cx="3541896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409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75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3826800"/>
            <a:ext cx="10734696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832104" y="3680016"/>
            <a:ext cx="1135648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86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59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242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7899480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22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54796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1785600"/>
            <a:ext cx="4186296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91985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507C89-5F1B-9D47-9498-3C7F4510D874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23481-21D1-8E46-828B-4243BA12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386036-21EF-4A07-A6CE-792BE934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264833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2104" y="1785600"/>
            <a:ext cx="604638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66984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898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238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719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4379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545718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821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545718" cy="90525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9654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2392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125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2392" cy="90525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2435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718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BC083B-0971-EE44-8965-5C1B1EAA73A2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AE90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DC165-D8C6-2C4D-87D0-E01DC0039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69DD1-EE61-4EBD-99D0-03078588F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402595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1965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86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9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4290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00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415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7411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6"/>
          <p:cNvSpPr txBox="1">
            <a:spLocks/>
          </p:cNvSpPr>
          <p:nvPr userDrawn="1"/>
        </p:nvSpPr>
        <p:spPr>
          <a:xfrm>
            <a:off x="832104" y="2973076"/>
            <a:ext cx="300646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2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Freeform 50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923544 w 12193200"/>
                <a:gd name="connsiteY0" fmla="*/ 622801 h 6858000"/>
                <a:gd name="connsiteX1" fmla="*/ 923544 w 12193200"/>
                <a:gd name="connsiteY1" fmla="*/ 6559941 h 6858000"/>
                <a:gd name="connsiteX2" fmla="*/ 11727605 w 12193200"/>
                <a:gd name="connsiteY2" fmla="*/ 6559941 h 6858000"/>
                <a:gd name="connsiteX3" fmla="*/ 11727605 w 12193200"/>
                <a:gd name="connsiteY3" fmla="*/ 622801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923544" y="622801"/>
                  </a:moveTo>
                  <a:lnTo>
                    <a:pt x="923544" y="6559941"/>
                  </a:lnTo>
                  <a:lnTo>
                    <a:pt x="11727605" y="6559941"/>
                  </a:lnTo>
                  <a:lnTo>
                    <a:pt x="11727605" y="622801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0EAEA">
                <a:alpha val="71000"/>
              </a:srgb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52" name="Straight Connector 51"/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-600" y="9354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-600" y="124807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-600" y="156071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-600" y="186239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-600" y="216408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-600" y="246576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-600" y="276744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-600" y="30691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-600" y="33708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-600" y="36725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-600" y="39741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>
              <a:off x="-600" y="42758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-600" y="45775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-600" y="48792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-600" y="518092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-600" y="548260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-600" y="578428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-600" y="608596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utter space"/>
            <p:cNvGrpSpPr/>
            <p:nvPr/>
          </p:nvGrpSpPr>
          <p:grpSpPr>
            <a:xfrm>
              <a:off x="1506574" y="623550"/>
              <a:ext cx="9638000" cy="5462419"/>
              <a:chOff x="1277000" y="623550"/>
              <a:chExt cx="9638000" cy="5537047"/>
            </a:xfrm>
          </p:grpSpPr>
          <p:sp>
            <p:nvSpPr>
              <p:cNvPr id="84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Footnote measure"/>
            <p:cNvSpPr>
              <a:spLocks noChangeArrowheads="1"/>
            </p:cNvSpPr>
            <p:nvPr/>
          </p:nvSpPr>
          <p:spPr bwMode="auto">
            <a:xfrm>
              <a:off x="923544" y="6085968"/>
              <a:ext cx="10804061" cy="452216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5" name="Five column measure"/>
            <p:cNvGrpSpPr/>
            <p:nvPr/>
          </p:nvGrpSpPr>
          <p:grpSpPr>
            <a:xfrm>
              <a:off x="923544" y="5895360"/>
              <a:ext cx="10804061" cy="79536"/>
              <a:chOff x="629400" y="5975122"/>
              <a:chExt cx="10933200" cy="79536"/>
            </a:xfrm>
          </p:grpSpPr>
          <p:sp>
            <p:nvSpPr>
              <p:cNvPr id="7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Live area"/>
            <p:cNvSpPr/>
            <p:nvPr/>
          </p:nvSpPr>
          <p:spPr>
            <a:xfrm>
              <a:off x="923544" y="2164080"/>
              <a:ext cx="10804061" cy="392188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DA291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ee4pFootnotes"/>
            <p:cNvSpPr>
              <a:spLocks noChangeArrowheads="1"/>
            </p:cNvSpPr>
            <p:nvPr/>
          </p:nvSpPr>
          <p:spPr bwMode="auto">
            <a:xfrm>
              <a:off x="923544" y="6085968"/>
              <a:ext cx="9030914" cy="41549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1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2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3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endParaRPr lang="en-US" sz="1000">
                <a:solidFill>
                  <a:srgbClr val="7F7F7F"/>
                </a:solidFill>
              </a:endParaRP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78" name="Whitespace measure"/>
            <p:cNvSpPr>
              <a:spLocks noChangeArrowheads="1"/>
            </p:cNvSpPr>
            <p:nvPr/>
          </p:nvSpPr>
          <p:spPr bwMode="auto">
            <a:xfrm>
              <a:off x="923544" y="1560712"/>
              <a:ext cx="10804061" cy="603368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0140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165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3620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81470" y="1115416"/>
            <a:ext cx="214513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039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A1ED10-E662-2740-A36A-71074A6507B1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3D6C7-3B5C-BB42-9770-788A389381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D9912-D5BE-49AD-A7AB-3DC8A9B05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42406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038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465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77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460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065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2104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14280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814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3620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81470" y="1115416"/>
            <a:ext cx="214513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1134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337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1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442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628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814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2104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93904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089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630000" y="2614290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>
                <a:solidFill>
                  <a:srgbClr val="FFFFFF"/>
                </a:solidFill>
              </a:rPr>
              <a:pPr/>
              <a:t>‹#›</a:t>
            </a:fld>
            <a:endParaRPr lang="x-non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988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8656" y="6441020"/>
            <a:ext cx="21084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6 Augus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6696" y="6441020"/>
            <a:ext cx="5099971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SQI Overview &amp; Proposi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707081" y="6441020"/>
            <a:ext cx="1031631" cy="365125"/>
          </a:xfrm>
          <a:prstGeom prst="rect">
            <a:avLst/>
          </a:prstGeom>
        </p:spPr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7049" y="705601"/>
            <a:ext cx="11042868" cy="363537"/>
          </a:xfrm>
        </p:spPr>
        <p:txBody>
          <a:bodyPr>
            <a:no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  <a:lvl6pPr marL="1588" indent="0">
              <a:buNone/>
              <a:defRPr sz="2500" b="0" i="0">
                <a:latin typeface="Gill Sans Infant MT"/>
                <a:cs typeface="Gill Sans Infant MT"/>
              </a:defRPr>
            </a:lvl6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849675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208411" y="149795"/>
            <a:ext cx="11766495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176" y="209045"/>
            <a:ext cx="2010373" cy="38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912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504226F4-18C7-4D48-8BBF-042243518ECB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4CA5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D888EF-8511-8447-84C9-54FE5B1BC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5AA1C7-A8C7-4EE0-83BE-36035D84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0028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5CB6B-B954-8D4C-A951-369C766E6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A6A816-062C-43A9-9196-6111219BE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617742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4830938-9E79-4F9C-AB82-F47C6100B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257175"/>
            <a:ext cx="11501438" cy="6051550"/>
          </a:xfrm>
        </p:spPr>
        <p:txBody>
          <a:bodyPr/>
          <a:lstStyle/>
          <a:p>
            <a:endParaRPr lang="en-U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</p:spTree>
    <p:extLst>
      <p:ext uri="{BB962C8B-B14F-4D97-AF65-F5344CB8AC3E}">
        <p14:creationId xmlns:p14="http://schemas.microsoft.com/office/powerpoint/2010/main" val="327734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732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8B1309-8B12-4F57-B05E-971E0657CF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5058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498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A29B1-FF2C-5D44-9076-0C2ECB267F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12C061-2248-9248-9E14-C827AD0EA2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B412C-FF15-0145-9A45-54D2DADA8F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 rot="5400000">
            <a:off x="-439372" y="5614935"/>
            <a:ext cx="1539875" cy="39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9000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D86D15-51D2-A24C-B04F-939835159E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9425" y="576470"/>
            <a:ext cx="11233150" cy="560049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205040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67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8262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half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2104" y="1785600"/>
            <a:ext cx="4186296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709321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507C89-5F1B-9D47-9498-3C7F4510D874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FED02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23481-21D1-8E46-828B-4243BA12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715EF4-E5AA-8C41-B270-A12E2DD8C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118" y="743011"/>
            <a:ext cx="9523556" cy="9032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4436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507C89-5F1B-9D47-9498-3C7F4510D874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23481-21D1-8E46-828B-4243BA12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386036-21EF-4A07-A6CE-792BE934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1450861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15938" y="3937222"/>
            <a:ext cx="11233150" cy="9032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>
              <a:lnSpc>
                <a:spcPct val="93000"/>
              </a:lnSpc>
              <a:defRPr sz="6000" baseline="0">
                <a:solidFill>
                  <a:schemeClr val="bg1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5C31DA-F392-457D-82A9-17F28C66B4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27134" y="1672431"/>
            <a:ext cx="4139610" cy="879310"/>
          </a:xfrm>
          <a:prstGeom prst="rect">
            <a:avLst/>
          </a:prstGeom>
        </p:spPr>
      </p:pic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15938" y="4952271"/>
            <a:ext cx="11233150" cy="48333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30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7742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AF06B2-A159-4635-BB05-7C5690738B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58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AF06B2-A159-4635-BB05-7C5690738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7EBDF8-3294-F243-8E02-B6435E5E5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268413"/>
            <a:ext cx="9144000" cy="2241550"/>
          </a:xfrm>
          <a:prstGeom prst="rect">
            <a:avLst/>
          </a:prstGeom>
        </p:spPr>
        <p:txBody>
          <a:bodyPr vert="horz" anchor="b"/>
          <a:lstStyle>
            <a:lvl1pPr algn="ctr">
              <a:defRPr sz="6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6F2B1C-7582-114C-B870-5C836A6805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7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2BC856-39D0-46D9-A4E5-0662DA28E6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9629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2BC856-39D0-46D9-A4E5-0662DA28E6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5CB6B-B954-8D4C-A951-369C766E6E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buClr>
                <a:schemeClr val="tx1"/>
              </a:buClr>
              <a:defRPr lang="en-US" sz="2400" b="0" i="0" dirty="0">
                <a:solidFill>
                  <a:srgbClr val="000000"/>
                </a:solidFill>
              </a:defRPr>
            </a:lvl2pPr>
            <a:lvl3pPr>
              <a:buClr>
                <a:schemeClr val="tx1"/>
              </a:buClr>
              <a:defRPr lang="en-US" sz="2200" b="0" i="0" dirty="0">
                <a:solidFill>
                  <a:srgbClr val="000000"/>
                </a:solidFill>
              </a:defRPr>
            </a:lvl3pPr>
            <a:lvl4pPr>
              <a:buClr>
                <a:schemeClr val="tx1"/>
              </a:buClr>
              <a:defRPr lang="en-US" sz="1800" b="0" i="0" dirty="0">
                <a:solidFill>
                  <a:srgbClr val="000000"/>
                </a:solidFill>
              </a:defRPr>
            </a:lvl4pPr>
            <a:lvl5pPr>
              <a:buClr>
                <a:schemeClr val="tx1"/>
              </a:buClr>
              <a:defRPr lang="en-UK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har char="•"/>
            </a:pPr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A6A816-062C-43A9-9196-6111219BE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5D8B5-D46C-4310-B504-084A47F4E446}"/>
              </a:ext>
            </a:extLst>
          </p:cNvPr>
          <p:cNvSpPr txBox="1">
            <a:spLocks/>
          </p:cNvSpPr>
          <p:nvPr userDrawn="1"/>
        </p:nvSpPr>
        <p:spPr>
          <a:xfrm>
            <a:off x="813816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K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000000"/>
                </a:solidFill>
              </a:rPr>
              <a:pPr/>
              <a:t>‹#›</a:t>
            </a:fld>
            <a:endParaRPr lang="en-UK">
              <a:solidFill>
                <a:srgbClr val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8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179746-4118-44BF-9E20-A0D054D3A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7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179746-4118-44BF-9E20-A0D054D3A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1507C89-5F1B-9D47-9498-3C7F4510D874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F2A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23481-21D1-8E46-828B-4243BA124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en-UK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386036-21EF-4A07-A6CE-792BE934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1678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153A83-0E50-4FEF-91C3-E5341341D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13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153A83-0E50-4FEF-91C3-E5341341D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5BC083B-0971-EE44-8965-5C1B1EAA73A2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A57F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DC165-D8C6-2C4D-87D0-E01DC0039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en-UK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69DD1-EE61-4EBD-99D0-03078588F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37037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2EFD81F-9659-4D00-9C04-F1FD90D71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76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2EFD81F-9659-4D00-9C04-F1FD90D71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7A1ED10-E662-2740-A36A-71074A6507B1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00B2A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3D6C7-3B5C-BB42-9770-788A389381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en-UK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D9912-D5BE-49AD-A7AB-3DC8A9B05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4554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2458C6-F382-4BEC-AAEB-DCE610D9E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98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2458C6-F382-4BEC-AAEB-DCE610D9E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504226F4-18C7-4D48-8BBF-042243518ECB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71CC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D888EF-8511-8447-84C9-54FE5B1BC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dirty="0">
                <a:solidFill>
                  <a:srgbClr val="000000"/>
                </a:solidFill>
              </a:defRPr>
            </a:lvl1pPr>
            <a:lvl2pPr>
              <a:defRPr lang="en-US" sz="2400" b="0" i="0" dirty="0">
                <a:solidFill>
                  <a:srgbClr val="000000"/>
                </a:solidFill>
              </a:defRPr>
            </a:lvl2pPr>
            <a:lvl3pPr>
              <a:defRPr lang="en-US" sz="2200" b="0" i="0" dirty="0">
                <a:solidFill>
                  <a:srgbClr val="000000"/>
                </a:solidFill>
              </a:defRPr>
            </a:lvl3pPr>
            <a:lvl4pPr>
              <a:defRPr lang="en-US" sz="1800" b="0" i="0" dirty="0">
                <a:solidFill>
                  <a:srgbClr val="000000"/>
                </a:solidFill>
              </a:defRPr>
            </a:lvl4pPr>
            <a:lvl5pPr>
              <a:defRPr lang="en-UK" sz="1800" b="0" i="0" dirty="0">
                <a:solidFill>
                  <a:srgbClr val="000000"/>
                </a:solidFill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5AA1C7-A8C7-4EE0-83BE-36035D84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2699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66F111-B2CF-4C70-A0B5-0D2308CD7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66F111-B2CF-4C70-A0B5-0D2308CD7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4830938-9E79-4F9C-AB82-F47C6100B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257175"/>
            <a:ext cx="11501438" cy="6051550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U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72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6D6270-7829-4332-A7BC-E3AC97FD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6D6270-7829-4332-A7BC-E3AC97FD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32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9A2EFC-4F50-4E18-8250-5BD08AD54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9A2EFC-4F50-4E18-8250-5BD08AD54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C8B1309-8B12-4F57-B05E-971E0657CF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59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BC083B-0971-EE44-8965-5C1B1EAA73A2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A57F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DC165-D8C6-2C4D-87D0-E01DC0039D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69DD1-EE61-4EBD-99D0-03078588F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67113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2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BF375E-9C20-4C1B-BCBA-BA92C8B8E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BF375E-9C20-4C1B-BCBA-BA92C8B8E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3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3394B5-B44F-4336-88A0-6AE4BD12B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3394B5-B44F-4336-88A0-6AE4BD12B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EA29B1-FF2C-5D44-9076-0C2ECB267F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 anchor="ctr"/>
          <a:lstStyle>
            <a:lvl1pPr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12C061-2248-9248-9E14-C827AD0EA2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 lIns="91440" tIns="45720" rIns="91440" bIns="45720" rtlCol="0">
            <a:normAutofit/>
          </a:bodyPr>
          <a:lstStyle>
            <a:lvl1pPr>
              <a:defRPr lang="en-US" sz="2400" b="0" i="0"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buClr>
                <a:schemeClr val="tx1"/>
              </a:buClr>
              <a:defRPr lang="en-US" sz="2400" b="0" i="0"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buClr>
                <a:schemeClr val="tx1"/>
              </a:buClr>
              <a:defRPr lang="en-US" sz="2200" b="0" i="0"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buClr>
                <a:schemeClr val="tx1"/>
              </a:buClr>
              <a:defRPr lang="en-US" sz="1800" b="0" i="0">
                <a:solidFill>
                  <a:schemeClr val="tx1"/>
                </a:solidFill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buClr>
                <a:schemeClr val="tx1"/>
              </a:buClr>
              <a:defRPr lang="en-UK" sz="1800" b="0" i="0" dirty="0"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har char="•"/>
            </a:pPr>
            <a:r>
              <a:rPr lang="en-US"/>
              <a:t>Fifth level</a:t>
            </a:r>
            <a:endParaRPr lang="en-UK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8B412C-FF15-0145-9A45-54D2DADA8F4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 rot="5400000">
            <a:off x="-439372" y="5614935"/>
            <a:ext cx="1539875" cy="396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813816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93293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5478D26-3F9A-4064-AE38-2CC79CF7A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5478D26-3F9A-4064-AE38-2CC79CF7A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D86D15-51D2-A24C-B04F-939835159E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9425" y="576470"/>
            <a:ext cx="11233150" cy="5600493"/>
          </a:xfrm>
          <a:prstGeom prst="rect">
            <a:avLst/>
          </a:prstGeom>
        </p:spPr>
        <p:txBody>
          <a:bodyPr vert="eaVert" lIns="91440" tIns="45720" rIns="91440" bIns="45720" rtlCol="0">
            <a:normAutofit/>
          </a:bodyPr>
          <a:lstStyle>
            <a:lvl1pPr>
              <a:defRPr lang="en-US" sz="2400" b="0" i="0" dirty="0"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400" b="0" i="0" dirty="0"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2200" b="0" i="0" dirty="0"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800" b="0" i="0" dirty="0">
                <a:solidFill>
                  <a:schemeClr val="tx1"/>
                </a:solidFill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K" sz="1800" b="0" i="0" dirty="0"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>
              <a:lnSpc>
                <a:spcPct val="120000"/>
              </a:lnSpc>
              <a:spcBef>
                <a:spcPts val="0"/>
              </a:spcBef>
              <a:buFontTx/>
              <a:buNone/>
            </a:pPr>
            <a:r>
              <a:rPr lang="en-US"/>
              <a:t>Edit Master text styles</a:t>
            </a:r>
          </a:p>
          <a:p>
            <a:pPr marL="228600" lvl="1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</a:pPr>
            <a:r>
              <a:rPr lang="en-US"/>
              <a:t>Second level</a:t>
            </a:r>
          </a:p>
          <a:p>
            <a:pPr marL="457200" lvl="2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685800" lvl="3" indent="-22860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Char char="•"/>
            </a:pPr>
            <a:r>
              <a:rPr lang="en-US"/>
              <a:t>Fourth level</a:t>
            </a:r>
          </a:p>
          <a:p>
            <a:pPr marL="914400" lvl="4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Char char="•"/>
            </a:pPr>
            <a:r>
              <a:rPr lang="en-US"/>
              <a:t>Fifth level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97496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92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25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2104" y="2164079"/>
            <a:ext cx="10986940" cy="39218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793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832104" y="1544274"/>
            <a:ext cx="3250296" cy="1495794"/>
          </a:xfrm>
          <a:noFill/>
        </p:spPr>
        <p:txBody>
          <a:bodyPr vert="horz" wrap="square" lIns="91440" tIns="0" rIns="320040" bIns="0" anchor="b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34416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89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3826800"/>
            <a:ext cx="10734696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832104" y="3680016"/>
            <a:ext cx="1136309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189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338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45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104" y="640184"/>
            <a:ext cx="5812536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374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A1ED10-E662-2740-A36A-71074A6507B1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C3D6C7-3B5C-BB42-9770-788A389381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D9912-D5BE-49AD-A7AB-3DC8A9B05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1056268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4061289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2104" y="1785600"/>
            <a:ext cx="4186296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064563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1804650"/>
            <a:ext cx="6045448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841818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259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32989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061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98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21248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471542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293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471542" cy="905256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906324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82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504226F4-18C7-4D48-8BBF-042243518ECB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71CC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D888EF-8511-8447-84C9-54FE5B1BC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805142"/>
            <a:ext cx="9523556" cy="4476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5AA1C7-A8C7-4EE0-83BE-36035D84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5519983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14207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3826333"/>
            <a:ext cx="10731096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417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832104" y="625475"/>
            <a:ext cx="932688" cy="9326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3826333"/>
            <a:ext cx="10731096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23560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08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19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174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42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itle 6"/>
          <p:cNvSpPr txBox="1">
            <a:spLocks/>
          </p:cNvSpPr>
          <p:nvPr userDrawn="1"/>
        </p:nvSpPr>
        <p:spPr>
          <a:xfrm>
            <a:off x="832104" y="2973076"/>
            <a:ext cx="300646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35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7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Freeform 92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923544 w 12193200"/>
                <a:gd name="connsiteY0" fmla="*/ 622801 h 6858000"/>
                <a:gd name="connsiteX1" fmla="*/ 923544 w 12193200"/>
                <a:gd name="connsiteY1" fmla="*/ 6559941 h 6858000"/>
                <a:gd name="connsiteX2" fmla="*/ 11727605 w 12193200"/>
                <a:gd name="connsiteY2" fmla="*/ 6559941 h 6858000"/>
                <a:gd name="connsiteX3" fmla="*/ 11727605 w 12193200"/>
                <a:gd name="connsiteY3" fmla="*/ 622801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923544" y="622801"/>
                  </a:moveTo>
                  <a:lnTo>
                    <a:pt x="923544" y="6559941"/>
                  </a:lnTo>
                  <a:lnTo>
                    <a:pt x="11727605" y="6559941"/>
                  </a:lnTo>
                  <a:lnTo>
                    <a:pt x="11727605" y="622801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0EAEA">
                <a:alpha val="71000"/>
              </a:srgb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94" name="Straight Connector 93"/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>
              <a:off x="-600" y="9354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-600" y="124807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-600" y="156071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-600" y="186239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>
              <a:off x="-600" y="216408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-600" y="246576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>
              <a:off x="-600" y="276744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-600" y="30691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-600" y="33708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-600" y="36725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-600" y="39741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-600" y="42758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-600" y="45775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-600" y="48792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-600" y="518092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-600" y="548260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>
              <a:off x="-600" y="578428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>
              <a:off x="-600" y="608596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utter space"/>
            <p:cNvGrpSpPr/>
            <p:nvPr/>
          </p:nvGrpSpPr>
          <p:grpSpPr>
            <a:xfrm>
              <a:off x="1506574" y="623550"/>
              <a:ext cx="9638000" cy="5462419"/>
              <a:chOff x="1277000" y="623550"/>
              <a:chExt cx="9638000" cy="5537047"/>
            </a:xfrm>
          </p:grpSpPr>
          <p:sp>
            <p:nvSpPr>
              <p:cNvPr id="125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4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ootnote measure"/>
            <p:cNvSpPr>
              <a:spLocks noChangeArrowheads="1"/>
            </p:cNvSpPr>
            <p:nvPr/>
          </p:nvSpPr>
          <p:spPr bwMode="auto">
            <a:xfrm>
              <a:off x="923544" y="6085968"/>
              <a:ext cx="10804061" cy="452216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6" name="Five column measure"/>
            <p:cNvGrpSpPr/>
            <p:nvPr/>
          </p:nvGrpSpPr>
          <p:grpSpPr>
            <a:xfrm>
              <a:off x="923544" y="5895360"/>
              <a:ext cx="10804061" cy="79536"/>
              <a:chOff x="629400" y="5975122"/>
              <a:chExt cx="10933200" cy="79536"/>
            </a:xfrm>
          </p:grpSpPr>
          <p:sp>
            <p:nvSpPr>
              <p:cNvPr id="120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7" name="Live area"/>
            <p:cNvSpPr/>
            <p:nvPr/>
          </p:nvSpPr>
          <p:spPr>
            <a:xfrm>
              <a:off x="923544" y="2164080"/>
              <a:ext cx="10804061" cy="392188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DA291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18" name="ee4pFootnotes"/>
            <p:cNvSpPr>
              <a:spLocks noChangeArrowheads="1"/>
            </p:cNvSpPr>
            <p:nvPr/>
          </p:nvSpPr>
          <p:spPr bwMode="auto">
            <a:xfrm>
              <a:off x="923544" y="6085968"/>
              <a:ext cx="9030914" cy="41549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1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2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3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endParaRPr lang="en-US" sz="1000">
                <a:solidFill>
                  <a:srgbClr val="7F7F7F"/>
                </a:solidFill>
              </a:endParaRP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119" name="Whitespace measure"/>
            <p:cNvSpPr>
              <a:spLocks noChangeArrowheads="1"/>
            </p:cNvSpPr>
            <p:nvPr/>
          </p:nvSpPr>
          <p:spPr bwMode="auto">
            <a:xfrm>
              <a:off x="923544" y="1560712"/>
              <a:ext cx="10804061" cy="603368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774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4830938-9E79-4F9C-AB82-F47C6100B0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9425" y="257175"/>
            <a:ext cx="11501438" cy="60515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</p:spTree>
    <p:extLst>
      <p:ext uri="{BB962C8B-B14F-4D97-AF65-F5344CB8AC3E}">
        <p14:creationId xmlns:p14="http://schemas.microsoft.com/office/powerpoint/2010/main" val="3400672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15938" y="3937222"/>
            <a:ext cx="11233150" cy="9032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>
              <a:lnSpc>
                <a:spcPct val="93000"/>
              </a:lnSpc>
              <a:defRPr sz="6000" baseline="0">
                <a:solidFill>
                  <a:schemeClr val="bg1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75C31DA-F392-457D-82A9-17F28C66B4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27134" y="1672431"/>
            <a:ext cx="4139610" cy="879310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515938" y="4952271"/>
            <a:ext cx="11233150" cy="48333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30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7405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93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2104" y="2164080"/>
            <a:ext cx="10986940" cy="392188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4DC62C-F264-B946-B162-E7602E2A3E60}"/>
              </a:ext>
            </a:extLst>
          </p:cNvPr>
          <p:cNvSpPr/>
          <p:nvPr userDrawn="1"/>
        </p:nvSpPr>
        <p:spPr>
          <a:xfrm>
            <a:off x="0" y="0"/>
            <a:ext cx="479425" cy="6858000"/>
          </a:xfrm>
          <a:prstGeom prst="rect">
            <a:avLst/>
          </a:prstGeom>
          <a:solidFill>
            <a:srgbClr val="DA29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85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832104" y="2158987"/>
            <a:ext cx="3541896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1227048"/>
            <a:ext cx="3541896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64094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75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3826800"/>
            <a:ext cx="10734696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832104" y="3680016"/>
            <a:ext cx="1135648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86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59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4696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242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7899480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22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681103"/>
            <a:ext cx="292577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154796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5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32104" y="1785600"/>
            <a:ext cx="4186296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791985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832104" y="1785600"/>
            <a:ext cx="604638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466984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898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2764203"/>
            <a:ext cx="2276534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7238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719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785600"/>
            <a:ext cx="386013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14379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545718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821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4545718" cy="90525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69654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2392" cy="90525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125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2104" y="640184"/>
            <a:ext cx="6052392" cy="90525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62435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8B1309-8B12-4F57-B05E-971E0657CF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7752" y="6413186"/>
            <a:ext cx="1380744" cy="29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951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718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1965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86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9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14290"/>
            <a:ext cx="2819400" cy="16890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00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5AA538-A5F4-4C3D-A801-D18C9FEE8A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58700" y="6413934"/>
            <a:ext cx="1382760" cy="293717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>
                <a:solidFill>
                  <a:srgbClr val="FFFFFF"/>
                </a:solidFill>
              </a:rPr>
              <a:pPr/>
              <a:t>‹#›</a:t>
            </a:fld>
            <a:endParaRPr lang="en-U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415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7411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6"/>
          <p:cNvSpPr txBox="1">
            <a:spLocks/>
          </p:cNvSpPr>
          <p:nvPr userDrawn="1"/>
        </p:nvSpPr>
        <p:spPr>
          <a:xfrm>
            <a:off x="832104" y="2973076"/>
            <a:ext cx="300646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solidFill>
                  <a:schemeClr val="tx1"/>
                </a:solidFill>
                <a:latin typeface="+mj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2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rgbClr val="DA29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171B573-4064-4E6C-AB4B-578B45CB4E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25381" y="2631030"/>
            <a:ext cx="6948678" cy="1475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Freeform 50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923544 w 12193200"/>
                <a:gd name="connsiteY0" fmla="*/ 622801 h 6858000"/>
                <a:gd name="connsiteX1" fmla="*/ 923544 w 12193200"/>
                <a:gd name="connsiteY1" fmla="*/ 6559941 h 6858000"/>
                <a:gd name="connsiteX2" fmla="*/ 11727605 w 12193200"/>
                <a:gd name="connsiteY2" fmla="*/ 6559941 h 6858000"/>
                <a:gd name="connsiteX3" fmla="*/ 11727605 w 12193200"/>
                <a:gd name="connsiteY3" fmla="*/ 622801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858000 h 6858000"/>
                <a:gd name="connsiteX7" fmla="*/ 0 w 12193200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3200" h="6858000">
                  <a:moveTo>
                    <a:pt x="923544" y="622801"/>
                  </a:moveTo>
                  <a:lnTo>
                    <a:pt x="923544" y="6559941"/>
                  </a:lnTo>
                  <a:lnTo>
                    <a:pt x="11727605" y="6559941"/>
                  </a:lnTo>
                  <a:lnTo>
                    <a:pt x="11727605" y="622801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0EAEA">
                <a:alpha val="71000"/>
              </a:srgbClr>
            </a:solidFill>
            <a:ln w="95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52" name="Straight Connector 51"/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-600" y="9354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-600" y="124807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-600" y="156071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-600" y="186239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-600" y="216408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-600" y="246576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-600" y="276744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-600" y="30691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-600" y="33708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-600" y="36725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-600" y="397418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>
              <a:off x="-600" y="42758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-600" y="457755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-600" y="487923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-600" y="518092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-600" y="548260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-600" y="578428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-600" y="608596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" name="Gutter space"/>
            <p:cNvGrpSpPr/>
            <p:nvPr/>
          </p:nvGrpSpPr>
          <p:grpSpPr>
            <a:xfrm>
              <a:off x="1506574" y="623550"/>
              <a:ext cx="9638000" cy="5462419"/>
              <a:chOff x="1277000" y="623550"/>
              <a:chExt cx="9638000" cy="5537047"/>
            </a:xfrm>
          </p:grpSpPr>
          <p:sp>
            <p:nvSpPr>
              <p:cNvPr id="84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7F7F7F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Footnote measure"/>
            <p:cNvSpPr>
              <a:spLocks noChangeArrowheads="1"/>
            </p:cNvSpPr>
            <p:nvPr/>
          </p:nvSpPr>
          <p:spPr bwMode="auto">
            <a:xfrm>
              <a:off x="923544" y="6085968"/>
              <a:ext cx="10804061" cy="452216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5" name="Five column measure"/>
            <p:cNvGrpSpPr/>
            <p:nvPr/>
          </p:nvGrpSpPr>
          <p:grpSpPr>
            <a:xfrm>
              <a:off x="923544" y="5895360"/>
              <a:ext cx="10804061" cy="79536"/>
              <a:chOff x="629400" y="5975122"/>
              <a:chExt cx="10933200" cy="79536"/>
            </a:xfrm>
          </p:grpSpPr>
          <p:sp>
            <p:nvSpPr>
              <p:cNvPr id="79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7F7F7F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Live area"/>
            <p:cNvSpPr/>
            <p:nvPr/>
          </p:nvSpPr>
          <p:spPr>
            <a:xfrm>
              <a:off x="923544" y="2164080"/>
              <a:ext cx="10804061" cy="392188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DA291C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77" name="ee4pFootnotes"/>
            <p:cNvSpPr>
              <a:spLocks noChangeArrowheads="1"/>
            </p:cNvSpPr>
            <p:nvPr/>
          </p:nvSpPr>
          <p:spPr bwMode="auto">
            <a:xfrm>
              <a:off x="923544" y="6085968"/>
              <a:ext cx="9030914" cy="41549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1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2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r>
                <a:rPr lang="en-US" sz="1000">
                  <a:solidFill>
                    <a:srgbClr val="7F7F7F"/>
                  </a:solidFill>
                </a:rPr>
                <a:t>  3. </a:t>
              </a:r>
              <a:r>
                <a:rPr lang="en-US" sz="1000" err="1">
                  <a:solidFill>
                    <a:srgbClr val="7F7F7F"/>
                  </a:solidFill>
                </a:rPr>
                <a:t>xxxx</a:t>
              </a:r>
              <a:endParaRPr lang="en-US" sz="1000">
                <a:solidFill>
                  <a:srgbClr val="7F7F7F"/>
                </a:solidFill>
              </a:endParaRP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>
                  <a:solidFill>
                    <a:srgbClr val="7F7F7F"/>
                  </a:solidFill>
                </a:rPr>
                <a:t>Source: Include a source for every chart that you use. Separate sources with a semicolon; BCG-related sources go at the end</a:t>
              </a:r>
            </a:p>
          </p:txBody>
        </p:sp>
        <p:sp>
          <p:nvSpPr>
            <p:cNvPr id="78" name="Whitespace measure"/>
            <p:cNvSpPr>
              <a:spLocks noChangeArrowheads="1"/>
            </p:cNvSpPr>
            <p:nvPr/>
          </p:nvSpPr>
          <p:spPr bwMode="auto">
            <a:xfrm>
              <a:off x="923544" y="1560712"/>
              <a:ext cx="10804061" cy="603368"/>
            </a:xfrm>
            <a:prstGeom prst="rect">
              <a:avLst/>
            </a:prstGeom>
            <a:solidFill>
              <a:srgbClr val="F2A9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0140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0.xml"/><Relationship Id="rId42" Type="http://schemas.openxmlformats.org/officeDocument/2006/relationships/slideLayout" Target="../slideLayouts/slideLayout71.xml"/><Relationship Id="rId47" Type="http://schemas.openxmlformats.org/officeDocument/2006/relationships/slideLayout" Target="../slideLayouts/slideLayout76.xml"/><Relationship Id="rId63" Type="http://schemas.openxmlformats.org/officeDocument/2006/relationships/slideLayout" Target="../slideLayouts/slideLayout92.xml"/><Relationship Id="rId68" Type="http://schemas.openxmlformats.org/officeDocument/2006/relationships/slideLayout" Target="../slideLayouts/slideLayout97.xml"/><Relationship Id="rId84" Type="http://schemas.openxmlformats.org/officeDocument/2006/relationships/image" Target="../media/image1.emf"/><Relationship Id="rId1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6.xml"/><Relationship Id="rId53" Type="http://schemas.openxmlformats.org/officeDocument/2006/relationships/slideLayout" Target="../slideLayouts/slideLayout82.xml"/><Relationship Id="rId58" Type="http://schemas.openxmlformats.org/officeDocument/2006/relationships/slideLayout" Target="../slideLayouts/slideLayout87.xml"/><Relationship Id="rId74" Type="http://schemas.openxmlformats.org/officeDocument/2006/relationships/slideLayout" Target="../slideLayouts/slideLayout103.xml"/><Relationship Id="rId79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34.xml"/><Relationship Id="rId61" Type="http://schemas.openxmlformats.org/officeDocument/2006/relationships/slideLayout" Target="../slideLayouts/slideLayout90.xml"/><Relationship Id="rId82" Type="http://schemas.openxmlformats.org/officeDocument/2006/relationships/oleObject" Target="../embeddings/oleObject5.bin"/><Relationship Id="rId1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slideLayout" Target="../slideLayouts/slideLayout72.xml"/><Relationship Id="rId48" Type="http://schemas.openxmlformats.org/officeDocument/2006/relationships/slideLayout" Target="../slideLayouts/slideLayout77.xml"/><Relationship Id="rId56" Type="http://schemas.openxmlformats.org/officeDocument/2006/relationships/slideLayout" Target="../slideLayouts/slideLayout85.xml"/><Relationship Id="rId64" Type="http://schemas.openxmlformats.org/officeDocument/2006/relationships/slideLayout" Target="../slideLayouts/slideLayout93.xml"/><Relationship Id="rId69" Type="http://schemas.openxmlformats.org/officeDocument/2006/relationships/slideLayout" Target="../slideLayouts/slideLayout98.xml"/><Relationship Id="rId77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37.xml"/><Relationship Id="rId51" Type="http://schemas.openxmlformats.org/officeDocument/2006/relationships/slideLayout" Target="../slideLayouts/slideLayout80.xml"/><Relationship Id="rId72" Type="http://schemas.openxmlformats.org/officeDocument/2006/relationships/slideLayout" Target="../slideLayouts/slideLayout101.xml"/><Relationship Id="rId80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slideLayout" Target="../slideLayouts/slideLayout67.xml"/><Relationship Id="rId46" Type="http://schemas.openxmlformats.org/officeDocument/2006/relationships/slideLayout" Target="../slideLayouts/slideLayout75.xml"/><Relationship Id="rId59" Type="http://schemas.openxmlformats.org/officeDocument/2006/relationships/slideLayout" Target="../slideLayouts/slideLayout88.xml"/><Relationship Id="rId67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49.xml"/><Relationship Id="rId41" Type="http://schemas.openxmlformats.org/officeDocument/2006/relationships/slideLayout" Target="../slideLayouts/slideLayout70.xml"/><Relationship Id="rId54" Type="http://schemas.openxmlformats.org/officeDocument/2006/relationships/slideLayout" Target="../slideLayouts/slideLayout83.xml"/><Relationship Id="rId62" Type="http://schemas.openxmlformats.org/officeDocument/2006/relationships/slideLayout" Target="../slideLayouts/slideLayout91.xml"/><Relationship Id="rId70" Type="http://schemas.openxmlformats.org/officeDocument/2006/relationships/slideLayout" Target="../slideLayouts/slideLayout99.xml"/><Relationship Id="rId75" Type="http://schemas.openxmlformats.org/officeDocument/2006/relationships/slideLayout" Target="../slideLayouts/slideLayout104.xml"/><Relationship Id="rId83" Type="http://schemas.openxmlformats.org/officeDocument/2006/relationships/image" Target="../media/image7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49" Type="http://schemas.openxmlformats.org/officeDocument/2006/relationships/slideLayout" Target="../slideLayouts/slideLayout78.xml"/><Relationship Id="rId57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60.xml"/><Relationship Id="rId44" Type="http://schemas.openxmlformats.org/officeDocument/2006/relationships/slideLayout" Target="../slideLayouts/slideLayout73.xml"/><Relationship Id="rId52" Type="http://schemas.openxmlformats.org/officeDocument/2006/relationships/slideLayout" Target="../slideLayouts/slideLayout81.xml"/><Relationship Id="rId60" Type="http://schemas.openxmlformats.org/officeDocument/2006/relationships/slideLayout" Target="../slideLayouts/slideLayout89.xml"/><Relationship Id="rId65" Type="http://schemas.openxmlformats.org/officeDocument/2006/relationships/slideLayout" Target="../slideLayouts/slideLayout94.xml"/><Relationship Id="rId73" Type="http://schemas.openxmlformats.org/officeDocument/2006/relationships/slideLayout" Target="../slideLayouts/slideLayout102.xml"/><Relationship Id="rId78" Type="http://schemas.openxmlformats.org/officeDocument/2006/relationships/slideLayout" Target="../slideLayouts/slideLayout107.xml"/><Relationship Id="rId81" Type="http://schemas.openxmlformats.org/officeDocument/2006/relationships/tags" Target="../tags/tag5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9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63.xml"/><Relationship Id="rId50" Type="http://schemas.openxmlformats.org/officeDocument/2006/relationships/slideLayout" Target="../slideLayouts/slideLayout79.xml"/><Relationship Id="rId55" Type="http://schemas.openxmlformats.org/officeDocument/2006/relationships/slideLayout" Target="../slideLayouts/slideLayout84.xml"/><Relationship Id="rId76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36.xml"/><Relationship Id="rId71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53.xml"/><Relationship Id="rId40" Type="http://schemas.openxmlformats.org/officeDocument/2006/relationships/slideLayout" Target="../slideLayouts/slideLayout69.xml"/><Relationship Id="rId45" Type="http://schemas.openxmlformats.org/officeDocument/2006/relationships/slideLayout" Target="../slideLayouts/slideLayout74.xml"/><Relationship Id="rId66" Type="http://schemas.openxmlformats.org/officeDocument/2006/relationships/slideLayout" Target="../slideLayouts/slideLayout95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63" Type="http://schemas.openxmlformats.org/officeDocument/2006/relationships/slideLayout" Target="../slideLayouts/slideLayout171.xml"/><Relationship Id="rId68" Type="http://schemas.openxmlformats.org/officeDocument/2006/relationships/slideLayout" Target="../slideLayouts/slideLayout176.xml"/><Relationship Id="rId84" Type="http://schemas.openxmlformats.org/officeDocument/2006/relationships/oleObject" Target="../embeddings/oleObject85.bin"/><Relationship Id="rId1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53" Type="http://schemas.openxmlformats.org/officeDocument/2006/relationships/slideLayout" Target="../slideLayouts/slideLayout161.xml"/><Relationship Id="rId58" Type="http://schemas.openxmlformats.org/officeDocument/2006/relationships/slideLayout" Target="../slideLayouts/slideLayout166.xml"/><Relationship Id="rId74" Type="http://schemas.openxmlformats.org/officeDocument/2006/relationships/slideLayout" Target="../slideLayouts/slideLayout182.xml"/><Relationship Id="rId79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56" Type="http://schemas.openxmlformats.org/officeDocument/2006/relationships/slideLayout" Target="../slideLayouts/slideLayout164.xml"/><Relationship Id="rId64" Type="http://schemas.openxmlformats.org/officeDocument/2006/relationships/slideLayout" Target="../slideLayouts/slideLayout172.xml"/><Relationship Id="rId69" Type="http://schemas.openxmlformats.org/officeDocument/2006/relationships/slideLayout" Target="../slideLayouts/slideLayout177.xml"/><Relationship Id="rId77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16.xml"/><Relationship Id="rId51" Type="http://schemas.openxmlformats.org/officeDocument/2006/relationships/slideLayout" Target="../slideLayouts/slideLayout159.xml"/><Relationship Id="rId72" Type="http://schemas.openxmlformats.org/officeDocument/2006/relationships/slideLayout" Target="../slideLayouts/slideLayout180.xml"/><Relationship Id="rId80" Type="http://schemas.openxmlformats.org/officeDocument/2006/relationships/slideLayout" Target="../slideLayouts/slideLayout188.xml"/><Relationship Id="rId85" Type="http://schemas.openxmlformats.org/officeDocument/2006/relationships/image" Target="../media/image7.emf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59" Type="http://schemas.openxmlformats.org/officeDocument/2006/relationships/slideLayout" Target="../slideLayouts/slideLayout167.xml"/><Relationship Id="rId67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54" Type="http://schemas.openxmlformats.org/officeDocument/2006/relationships/slideLayout" Target="../slideLayouts/slideLayout162.xml"/><Relationship Id="rId62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78.xml"/><Relationship Id="rId75" Type="http://schemas.openxmlformats.org/officeDocument/2006/relationships/slideLayout" Target="../slideLayouts/slideLayout183.xml"/><Relationship Id="rId83" Type="http://schemas.openxmlformats.org/officeDocument/2006/relationships/tags" Target="../tags/tag89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57.xml"/><Relationship Id="rId57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52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68.xml"/><Relationship Id="rId65" Type="http://schemas.openxmlformats.org/officeDocument/2006/relationships/slideLayout" Target="../slideLayouts/slideLayout173.xml"/><Relationship Id="rId73" Type="http://schemas.openxmlformats.org/officeDocument/2006/relationships/slideLayout" Target="../slideLayouts/slideLayout181.xml"/><Relationship Id="rId78" Type="http://schemas.openxmlformats.org/officeDocument/2006/relationships/slideLayout" Target="../slideLayouts/slideLayout186.xml"/><Relationship Id="rId81" Type="http://schemas.openxmlformats.org/officeDocument/2006/relationships/slideLayout" Target="../slideLayouts/slideLayout189.xml"/><Relationship Id="rId86" Type="http://schemas.openxmlformats.org/officeDocument/2006/relationships/image" Target="../media/image1.emf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142.xml"/><Relationship Id="rId50" Type="http://schemas.openxmlformats.org/officeDocument/2006/relationships/slideLayout" Target="../slideLayouts/slideLayout158.xml"/><Relationship Id="rId55" Type="http://schemas.openxmlformats.org/officeDocument/2006/relationships/slideLayout" Target="../slideLayouts/slideLayout163.xml"/><Relationship Id="rId76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15.xml"/><Relationship Id="rId71" Type="http://schemas.openxmlformats.org/officeDocument/2006/relationships/slideLayout" Target="../slideLayouts/slideLayout179.xml"/><Relationship Id="rId2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66" Type="http://schemas.openxmlformats.org/officeDocument/2006/relationships/slideLayout" Target="../slideLayouts/slideLayout174.xml"/><Relationship Id="rId61" Type="http://schemas.openxmlformats.org/officeDocument/2006/relationships/slideLayout" Target="../slideLayouts/slideLayout169.xml"/><Relationship Id="rId8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B3B62D-B5F3-43D5-AF61-262F4EDB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04" y="640184"/>
            <a:ext cx="9528048" cy="905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2A019-0712-4C58-B69B-2E930E508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3816" y="1673351"/>
            <a:ext cx="9528048" cy="46353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90B4C-104C-4581-BE11-4D52BE864C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3816" y="6458740"/>
            <a:ext cx="171673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DC51D301-088B-4047-A9FD-F8F12A6B648D}" type="datetime4">
              <a:rPr lang="en-UK" smtClean="0"/>
              <a:t>03 October 2023</a:t>
            </a:fld>
            <a:endParaRPr lang="en-U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5E446-7590-4BB6-A46F-9F2099285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30549" y="6458740"/>
            <a:ext cx="7130902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61451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3746645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7" r:id="rId5"/>
    <p:sldLayoutId id="2147483653" r:id="rId6"/>
    <p:sldLayoutId id="2147483660" r:id="rId7"/>
    <p:sldLayoutId id="2147483654" r:id="rId8"/>
    <p:sldLayoutId id="2147483655" r:id="rId9"/>
    <p:sldLayoutId id="2147483656" r:id="rId10"/>
    <p:sldLayoutId id="2147483659" r:id="rId11"/>
    <p:sldLayoutId id="2147483658" r:id="rId12"/>
    <p:sldLayoutId id="2147485269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Tx/>
        <a:buNone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4572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2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6858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914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049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pos="302" userDrawn="1">
          <p15:clr>
            <a:srgbClr val="F26B43"/>
          </p15:clr>
        </p15:guide>
        <p15:guide id="6" pos="7378" userDrawn="1">
          <p15:clr>
            <a:srgbClr val="F26B43"/>
          </p15:clr>
        </p15:guide>
        <p15:guide id="7" pos="506" userDrawn="1">
          <p15:clr>
            <a:srgbClr val="F26B43"/>
          </p15:clr>
        </p15:guide>
        <p15:guide id="8" orient="horz" pos="417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B3B62D-B5F3-43D5-AF61-262F4EDB8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04" y="640184"/>
            <a:ext cx="9528048" cy="905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K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2A019-0712-4C58-B69B-2E930E508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3816" y="1673351"/>
            <a:ext cx="9528048" cy="46353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K"/>
              <a:t>Click to edit Master text styles</a:t>
            </a:r>
          </a:p>
          <a:p>
            <a:pPr lvl="1"/>
            <a:r>
              <a:rPr lang="en-UK"/>
              <a:t>Second level</a:t>
            </a:r>
          </a:p>
          <a:p>
            <a:pPr lvl="2"/>
            <a:r>
              <a:rPr lang="en-UK"/>
              <a:t>Third level</a:t>
            </a:r>
          </a:p>
          <a:p>
            <a:pPr lvl="3"/>
            <a:r>
              <a:rPr lang="en-UK"/>
              <a:t>Fourth level</a:t>
            </a:r>
          </a:p>
          <a:p>
            <a:pPr lvl="4"/>
            <a:r>
              <a:rPr lang="en-UK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90B4C-104C-4581-BE11-4D52BE864C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3816" y="6458740"/>
            <a:ext cx="171673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DC51D301-088B-4047-A9FD-F8F12A6B648D}" type="datetime4">
              <a:rPr lang="en-UK" smtClean="0"/>
              <a:t>03 October 2023</a:t>
            </a:fld>
            <a:endParaRPr lang="en-U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5E446-7590-4BB6-A46F-9F2099285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30549" y="6458740"/>
            <a:ext cx="7130902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61451" y="6458740"/>
            <a:ext cx="640589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206764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5265" r:id="rId13"/>
    <p:sldLayoutId id="2147485266" r:id="rId14"/>
    <p:sldLayoutId id="2147485268" r:id="rId15"/>
    <p:sldLayoutId id="2147485270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Tx/>
        <a:buNone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4572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2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6858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914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pos="302">
          <p15:clr>
            <a:srgbClr val="F26B43"/>
          </p15:clr>
        </p15:guide>
        <p15:guide id="6" pos="7378">
          <p15:clr>
            <a:srgbClr val="F26B43"/>
          </p15:clr>
        </p15:guide>
        <p15:guide id="7" pos="506">
          <p15:clr>
            <a:srgbClr val="F26B43"/>
          </p15:clr>
        </p15:guide>
        <p15:guide id="8" orient="horz" pos="417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197704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270" imgH="270" progId="TCLayout.ActiveDocument.1">
                  <p:embed/>
                </p:oleObj>
              </mc:Choice>
              <mc:Fallback>
                <p:oleObj name="think-cell Slide" r:id="rId8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2104" y="640184"/>
            <a:ext cx="10986940" cy="90525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32104" y="2164079"/>
            <a:ext cx="10986940" cy="39218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84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en-UK" smtClean="0"/>
              <a:pPr/>
              <a:t>‹#›</a:t>
            </a:fld>
            <a:endParaRPr lang="en-UK"/>
          </a:p>
        </p:txBody>
      </p:sp>
    </p:spTree>
    <p:extLst>
      <p:ext uri="{BB962C8B-B14F-4D97-AF65-F5344CB8AC3E}">
        <p14:creationId xmlns:p14="http://schemas.microsoft.com/office/powerpoint/2010/main" val="102238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64" r:id="rId20"/>
    <p:sldLayoutId id="2147485205" r:id="rId21"/>
    <p:sldLayoutId id="2147485206" r:id="rId22"/>
    <p:sldLayoutId id="2147485207" r:id="rId23"/>
    <p:sldLayoutId id="2147485208" r:id="rId24"/>
    <p:sldLayoutId id="2147485209" r:id="rId25"/>
    <p:sldLayoutId id="2147485210" r:id="rId26"/>
    <p:sldLayoutId id="2147485211" r:id="rId27"/>
    <p:sldLayoutId id="2147485212" r:id="rId28"/>
    <p:sldLayoutId id="2147485213" r:id="rId29"/>
    <p:sldLayoutId id="2147485214" r:id="rId30"/>
    <p:sldLayoutId id="2147485215" r:id="rId31"/>
    <p:sldLayoutId id="2147485216" r:id="rId32"/>
    <p:sldLayoutId id="2147485217" r:id="rId33"/>
    <p:sldLayoutId id="2147485218" r:id="rId34"/>
    <p:sldLayoutId id="2147485219" r:id="rId35"/>
    <p:sldLayoutId id="2147485220" r:id="rId36"/>
    <p:sldLayoutId id="2147485221" r:id="rId37"/>
    <p:sldLayoutId id="2147485222" r:id="rId38"/>
    <p:sldLayoutId id="2147485223" r:id="rId39"/>
    <p:sldLayoutId id="2147485224" r:id="rId40"/>
    <p:sldLayoutId id="2147485225" r:id="rId41"/>
    <p:sldLayoutId id="2147485226" r:id="rId42"/>
    <p:sldLayoutId id="2147485227" r:id="rId43"/>
    <p:sldLayoutId id="2147485228" r:id="rId44"/>
    <p:sldLayoutId id="2147485229" r:id="rId45"/>
    <p:sldLayoutId id="2147485230" r:id="rId46"/>
    <p:sldLayoutId id="2147485231" r:id="rId47"/>
    <p:sldLayoutId id="2147485232" r:id="rId48"/>
    <p:sldLayoutId id="2147485233" r:id="rId49"/>
    <p:sldLayoutId id="2147485234" r:id="rId50"/>
    <p:sldLayoutId id="2147485235" r:id="rId51"/>
    <p:sldLayoutId id="2147485236" r:id="rId52"/>
    <p:sldLayoutId id="2147485237" r:id="rId53"/>
    <p:sldLayoutId id="2147485238" r:id="rId54"/>
    <p:sldLayoutId id="2147485239" r:id="rId55"/>
    <p:sldLayoutId id="2147485240" r:id="rId56"/>
    <p:sldLayoutId id="2147485241" r:id="rId57"/>
    <p:sldLayoutId id="2147485242" r:id="rId58"/>
    <p:sldLayoutId id="2147485243" r:id="rId59"/>
    <p:sldLayoutId id="2147485244" r:id="rId60"/>
    <p:sldLayoutId id="2147485245" r:id="rId61"/>
    <p:sldLayoutId id="2147485246" r:id="rId62"/>
    <p:sldLayoutId id="2147485247" r:id="rId63"/>
    <p:sldLayoutId id="2147485248" r:id="rId64"/>
    <p:sldLayoutId id="2147485249" r:id="rId65"/>
    <p:sldLayoutId id="2147485250" r:id="rId66"/>
    <p:sldLayoutId id="2147485251" r:id="rId67"/>
    <p:sldLayoutId id="2147485252" r:id="rId68"/>
    <p:sldLayoutId id="2147485253" r:id="rId69"/>
    <p:sldLayoutId id="2147485254" r:id="rId70"/>
    <p:sldLayoutId id="2147485255" r:id="rId71"/>
    <p:sldLayoutId id="2147485256" r:id="rId72"/>
    <p:sldLayoutId id="2147485257" r:id="rId73"/>
    <p:sldLayoutId id="2147485258" r:id="rId74"/>
    <p:sldLayoutId id="2147485259" r:id="rId75"/>
    <p:sldLayoutId id="2147485260" r:id="rId76"/>
    <p:sldLayoutId id="2147485261" r:id="rId77"/>
    <p:sldLayoutId id="2147485262" r:id="rId78"/>
    <p:sldLayoutId id="2147485263" r:id="rId7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F26B43"/>
          </p15:clr>
        </p15:guide>
        <p15:guide id="2" pos="576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197704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270" imgH="270" progId="TCLayout.ActiveDocument.1">
                  <p:embed/>
                </p:oleObj>
              </mc:Choice>
              <mc:Fallback>
                <p:oleObj name="think-cell Slide" r:id="rId8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2104" y="640184"/>
            <a:ext cx="10986940" cy="90525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32104" y="2164079"/>
            <a:ext cx="10986940" cy="39218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5BA18A-3EF3-4F77-BA84-CFDEC376884C}"/>
              </a:ext>
            </a:extLst>
          </p:cNvPr>
          <p:cNvPicPr>
            <a:picLocks noChangeAspect="1"/>
          </p:cNvPicPr>
          <p:nvPr userDrawn="1"/>
        </p:nvPicPr>
        <p:blipFill>
          <a:blip r:embed="rId86"/>
          <a:stretch>
            <a:fillRect/>
          </a:stretch>
        </p:blipFill>
        <p:spPr>
          <a:xfrm>
            <a:off x="10355137" y="6413934"/>
            <a:ext cx="1389888" cy="293717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05C91-E720-47F5-88B2-1B7D578E38F5}"/>
              </a:ext>
            </a:extLst>
          </p:cNvPr>
          <p:cNvSpPr txBox="1">
            <a:spLocks/>
          </p:cNvSpPr>
          <p:nvPr userDrawn="1"/>
        </p:nvSpPr>
        <p:spPr>
          <a:xfrm>
            <a:off x="11384029" y="6144806"/>
            <a:ext cx="360996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413B3B-BFB3-42E3-B409-FAAF558C2ACC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2238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2" r:id="rId1"/>
    <p:sldLayoutId id="2147485293" r:id="rId2"/>
    <p:sldLayoutId id="2147485294" r:id="rId3"/>
    <p:sldLayoutId id="2147485295" r:id="rId4"/>
    <p:sldLayoutId id="2147485296" r:id="rId5"/>
    <p:sldLayoutId id="2147485297" r:id="rId6"/>
    <p:sldLayoutId id="2147485298" r:id="rId7"/>
    <p:sldLayoutId id="2147485299" r:id="rId8"/>
    <p:sldLayoutId id="2147485300" r:id="rId9"/>
    <p:sldLayoutId id="2147485301" r:id="rId10"/>
    <p:sldLayoutId id="2147485302" r:id="rId11"/>
    <p:sldLayoutId id="2147485303" r:id="rId12"/>
    <p:sldLayoutId id="2147485304" r:id="rId13"/>
    <p:sldLayoutId id="2147485305" r:id="rId14"/>
    <p:sldLayoutId id="2147485306" r:id="rId15"/>
    <p:sldLayoutId id="2147485307" r:id="rId16"/>
    <p:sldLayoutId id="2147485308" r:id="rId17"/>
    <p:sldLayoutId id="2147485309" r:id="rId18"/>
    <p:sldLayoutId id="2147485310" r:id="rId19"/>
    <p:sldLayoutId id="2147485311" r:id="rId20"/>
    <p:sldLayoutId id="2147485312" r:id="rId21"/>
    <p:sldLayoutId id="2147485313" r:id="rId22"/>
    <p:sldLayoutId id="2147485314" r:id="rId23"/>
    <p:sldLayoutId id="2147485315" r:id="rId24"/>
    <p:sldLayoutId id="2147485316" r:id="rId25"/>
    <p:sldLayoutId id="2147485317" r:id="rId26"/>
    <p:sldLayoutId id="2147485318" r:id="rId27"/>
    <p:sldLayoutId id="2147485319" r:id="rId28"/>
    <p:sldLayoutId id="2147485320" r:id="rId29"/>
    <p:sldLayoutId id="2147485321" r:id="rId30"/>
    <p:sldLayoutId id="2147485322" r:id="rId31"/>
    <p:sldLayoutId id="2147485323" r:id="rId32"/>
    <p:sldLayoutId id="2147485324" r:id="rId33"/>
    <p:sldLayoutId id="2147485325" r:id="rId34"/>
    <p:sldLayoutId id="2147485326" r:id="rId35"/>
    <p:sldLayoutId id="2147485327" r:id="rId36"/>
    <p:sldLayoutId id="2147485328" r:id="rId37"/>
    <p:sldLayoutId id="2147485329" r:id="rId38"/>
    <p:sldLayoutId id="2147485330" r:id="rId39"/>
    <p:sldLayoutId id="2147485331" r:id="rId40"/>
    <p:sldLayoutId id="2147485332" r:id="rId41"/>
    <p:sldLayoutId id="2147485333" r:id="rId42"/>
    <p:sldLayoutId id="2147485334" r:id="rId43"/>
    <p:sldLayoutId id="2147485335" r:id="rId44"/>
    <p:sldLayoutId id="2147485336" r:id="rId45"/>
    <p:sldLayoutId id="2147485337" r:id="rId46"/>
    <p:sldLayoutId id="2147485338" r:id="rId47"/>
    <p:sldLayoutId id="2147485339" r:id="rId48"/>
    <p:sldLayoutId id="2147485340" r:id="rId49"/>
    <p:sldLayoutId id="2147485341" r:id="rId50"/>
    <p:sldLayoutId id="2147485342" r:id="rId51"/>
    <p:sldLayoutId id="2147485343" r:id="rId52"/>
    <p:sldLayoutId id="2147485344" r:id="rId53"/>
    <p:sldLayoutId id="2147485345" r:id="rId54"/>
    <p:sldLayoutId id="2147485346" r:id="rId55"/>
    <p:sldLayoutId id="2147485347" r:id="rId56"/>
    <p:sldLayoutId id="2147485348" r:id="rId57"/>
    <p:sldLayoutId id="2147485349" r:id="rId58"/>
    <p:sldLayoutId id="2147485350" r:id="rId59"/>
    <p:sldLayoutId id="2147485351" r:id="rId60"/>
    <p:sldLayoutId id="2147485352" r:id="rId61"/>
    <p:sldLayoutId id="2147485353" r:id="rId62"/>
    <p:sldLayoutId id="2147485354" r:id="rId63"/>
    <p:sldLayoutId id="2147485355" r:id="rId64"/>
    <p:sldLayoutId id="2147485356" r:id="rId65"/>
    <p:sldLayoutId id="2147485357" r:id="rId66"/>
    <p:sldLayoutId id="2147485358" r:id="rId67"/>
    <p:sldLayoutId id="2147485359" r:id="rId68"/>
    <p:sldLayoutId id="2147485360" r:id="rId69"/>
    <p:sldLayoutId id="2147485361" r:id="rId70"/>
    <p:sldLayoutId id="2147485362" r:id="rId71"/>
    <p:sldLayoutId id="2147485363" r:id="rId72"/>
    <p:sldLayoutId id="2147485364" r:id="rId73"/>
    <p:sldLayoutId id="2147485365" r:id="rId74"/>
    <p:sldLayoutId id="2147485366" r:id="rId75"/>
    <p:sldLayoutId id="2147485367" r:id="rId76"/>
    <p:sldLayoutId id="2147485368" r:id="rId77"/>
    <p:sldLayoutId id="2147485369" r:id="rId78"/>
    <p:sldLayoutId id="2147485370" r:id="rId79"/>
    <p:sldLayoutId id="2147485278" r:id="rId80"/>
    <p:sldLayoutId id="2147485290" r:id="rId8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F26B43"/>
          </p15:clr>
        </p15:guide>
        <p15:guide id="2" pos="576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xtranet.who.int/publicemergency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o.int/data/gho/data/indicators/indicator-details/GHO/under-five-mortality-rate-(probability-of-dying-by-age-5-per-1000-live-births)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5" Type="http://schemas.openxmlformats.org/officeDocument/2006/relationships/hyperlink" Target="https://data.humdata.org/group" TargetMode="External"/><Relationship Id="rId4" Type="http://schemas.openxmlformats.org/officeDocument/2006/relationships/hyperlink" Target="https://www.unicef.org/esa/press-releases/new-unicef-report-shows-127-million-children-africa-missed-out-one-or-more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ata.humdata.org/visualization/horn-of-africa-humanitarian-operations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reliefweb.int/report/sudan/sudan-humanitarian-update-28-september-2023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4A25A63E-D2CF-E2D3-380B-704FBB3A68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754" y="925862"/>
            <a:ext cx="9144000" cy="5381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79C55A8-8D5F-9A44-A251-7381460D0CA8}"/>
              </a:ext>
            </a:extLst>
          </p:cNvPr>
          <p:cNvSpPr txBox="1"/>
          <p:nvPr/>
        </p:nvSpPr>
        <p:spPr>
          <a:xfrm>
            <a:off x="6092757" y="6581001"/>
            <a:ext cx="4704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K" sz="12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nt Hub: </a:t>
            </a:r>
            <a:r>
              <a:rPr lang="en-GB" sz="1200" dirty="0">
                <a:solidFill>
                  <a:schemeClr val="bg1"/>
                </a:solidFill>
              </a:rPr>
              <a:t>CH1304412 </a:t>
            </a:r>
            <a:endParaRPr lang="en-UK" sz="1200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86D398-7930-43E5-B54C-621E4A76C8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5789" y="6327484"/>
            <a:ext cx="7949930" cy="905256"/>
          </a:xfrm>
        </p:spPr>
        <p:txBody>
          <a:bodyPr>
            <a:norm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dirty="0"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yesha Kadir,  Senior Humanitarian Health Advisor, </a:t>
            </a:r>
            <a:r>
              <a:rPr lang="en-GB" sz="1800" b="1" dirty="0">
                <a:solidFill>
                  <a:srgbClr val="FF0000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ave the Children</a:t>
            </a:r>
            <a:endParaRPr lang="en-GB" sz="1800" b="1" dirty="0">
              <a:effectLst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AB759F-4765-4933-8E65-2CF201C92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746" y="-106152"/>
            <a:ext cx="11062015" cy="905256"/>
          </a:xfrm>
        </p:spPr>
        <p:txBody>
          <a:bodyPr>
            <a:normAutofit fontScale="90000"/>
          </a:bodyPr>
          <a:lstStyle/>
          <a:p>
            <a:r>
              <a:rPr lang="en-US" sz="4900" dirty="0"/>
              <a:t>Recent public health emergency trends in Africa</a:t>
            </a:r>
            <a:endParaRPr lang="en-UK" dirty="0"/>
          </a:p>
        </p:txBody>
      </p:sp>
    </p:spTree>
    <p:extLst>
      <p:ext uri="{BB962C8B-B14F-4D97-AF65-F5344CB8AC3E}">
        <p14:creationId xmlns:p14="http://schemas.microsoft.com/office/powerpoint/2010/main" val="3162826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3C7236-C1CA-F575-8DE3-E161D13DC696}"/>
              </a:ext>
            </a:extLst>
          </p:cNvPr>
          <p:cNvPicPr>
            <a:picLocks/>
          </p:cNvPicPr>
          <p:nvPr/>
        </p:nvPicPr>
        <p:blipFill>
          <a:blip r:embed="rId3"/>
          <a:srcRect/>
          <a:stretch/>
        </p:blipFill>
        <p:spPr>
          <a:xfrm>
            <a:off x="-9144" y="-9144"/>
            <a:ext cx="12207240" cy="6876288"/>
          </a:xfrm>
          <a:prstGeom prst="rect">
            <a:avLst/>
          </a:prstGeom>
        </p:spPr>
      </p:pic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DF282B8A-63B2-4A4B-9325-A1001457129C}"/>
              </a:ext>
            </a:extLst>
          </p:cNvPr>
          <p:cNvSpPr/>
          <p:nvPr/>
        </p:nvSpPr>
        <p:spPr>
          <a:xfrm>
            <a:off x="4898464" y="4970643"/>
            <a:ext cx="7071396" cy="1584000"/>
          </a:xfrm>
          <a:prstGeom prst="roundRect">
            <a:avLst>
              <a:gd name="adj" fmla="val 5019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2400"/>
              </a:spcBef>
            </a:pPr>
            <a:r>
              <a:rPr lang="en-GB" sz="11000" cap="all" dirty="0">
                <a:solidFill>
                  <a:schemeClr val="tx1"/>
                </a:solidFill>
                <a:latin typeface="+mj-lt"/>
              </a:rPr>
              <a:t>Thank you</a:t>
            </a:r>
            <a:endParaRPr lang="en-UK" sz="11000" cap="all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51350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66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9C84C06-E9D3-4724-FBC6-54B1E06E4B7A}"/>
              </a:ext>
            </a:extLst>
          </p:cNvPr>
          <p:cNvSpPr txBox="1"/>
          <p:nvPr/>
        </p:nvSpPr>
        <p:spPr>
          <a:xfrm flipH="1">
            <a:off x="8046719" y="833054"/>
            <a:ext cx="41364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3000" dirty="0"/>
              <a:t>Public Health Emergencies overview (28 Sept 2023)</a:t>
            </a:r>
          </a:p>
          <a:p>
            <a:pPr algn="l"/>
            <a:endParaRPr lang="en-GB" dirty="0"/>
          </a:p>
          <a:p>
            <a:pPr algn="l"/>
            <a:r>
              <a:rPr lang="en-GB" dirty="0"/>
              <a:t>Source: </a:t>
            </a:r>
            <a:r>
              <a:rPr lang="en-GB" dirty="0">
                <a:hlinkClick r:id="rId3"/>
              </a:rPr>
              <a:t>WHO Health Emergencies programme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FDA588-3A80-807E-299B-FD3844AD3A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570" y="11429"/>
            <a:ext cx="6873350" cy="684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353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BEC28E-4741-119A-E962-BABD3231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682" y="743010"/>
            <a:ext cx="5054918" cy="1314389"/>
          </a:xfrm>
        </p:spPr>
        <p:txBody>
          <a:bodyPr>
            <a:normAutofit fontScale="90000"/>
          </a:bodyPr>
          <a:lstStyle/>
          <a:p>
            <a:r>
              <a:rPr lang="en-GB" dirty="0"/>
              <a:t>Impacts of public health emergencies on childre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A81C183-AEB1-43D1-15B8-BB8A2D27C6D2}"/>
              </a:ext>
            </a:extLst>
          </p:cNvPr>
          <p:cNvSpPr/>
          <p:nvPr/>
        </p:nvSpPr>
        <p:spPr>
          <a:xfrm>
            <a:off x="555790" y="2498832"/>
            <a:ext cx="2249553" cy="1145876"/>
          </a:xfrm>
          <a:prstGeom prst="ellipse">
            <a:avLst/>
          </a:prstGeom>
          <a:solidFill>
            <a:schemeClr val="accent5"/>
          </a:solidFill>
          <a:ln w="38100" cmpd="sng">
            <a:solidFill>
              <a:srgbClr val="7030A0"/>
            </a:solidFill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rmed conflic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B77E272-6D1A-119F-BBDD-780627F11650}"/>
              </a:ext>
            </a:extLst>
          </p:cNvPr>
          <p:cNvSpPr/>
          <p:nvPr/>
        </p:nvSpPr>
        <p:spPr>
          <a:xfrm>
            <a:off x="634682" y="5232017"/>
            <a:ext cx="2091770" cy="1145876"/>
          </a:xfrm>
          <a:prstGeom prst="ellipse">
            <a:avLst/>
          </a:prstGeom>
          <a:ln w="44450" cmpd="sng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limate chang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F3332A8-502C-6DD2-23ED-FB18119FC6A9}"/>
              </a:ext>
            </a:extLst>
          </p:cNvPr>
          <p:cNvSpPr/>
          <p:nvPr/>
        </p:nvSpPr>
        <p:spPr>
          <a:xfrm>
            <a:off x="3166090" y="3953450"/>
            <a:ext cx="2238340" cy="1149927"/>
          </a:xfrm>
          <a:prstGeom prst="ellipse">
            <a:avLst/>
          </a:prstGeom>
          <a:solidFill>
            <a:srgbClr val="7030A0"/>
          </a:solidFill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Displacemen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0C86794-DA20-088C-88E1-07EF14A5F484}"/>
              </a:ext>
            </a:extLst>
          </p:cNvPr>
          <p:cNvCxnSpPr>
            <a:cxnSpLocks/>
          </p:cNvCxnSpPr>
          <p:nvPr/>
        </p:nvCxnSpPr>
        <p:spPr>
          <a:xfrm>
            <a:off x="1616748" y="3896877"/>
            <a:ext cx="0" cy="856386"/>
          </a:xfrm>
          <a:prstGeom prst="straightConnector1">
            <a:avLst/>
          </a:prstGeom>
          <a:ln w="31750" cmpd="sng">
            <a:solidFill>
              <a:schemeClr val="accent6">
                <a:lumMod val="75000"/>
              </a:schemeClr>
            </a:solidFill>
            <a:round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3727D58-9FC7-94CE-ED87-50380DD0A726}"/>
              </a:ext>
            </a:extLst>
          </p:cNvPr>
          <p:cNvCxnSpPr>
            <a:cxnSpLocks/>
          </p:cNvCxnSpPr>
          <p:nvPr/>
        </p:nvCxnSpPr>
        <p:spPr>
          <a:xfrm>
            <a:off x="2728568" y="3606075"/>
            <a:ext cx="582424" cy="402650"/>
          </a:xfrm>
          <a:prstGeom prst="straightConnector1">
            <a:avLst/>
          </a:prstGeom>
          <a:ln w="31750" cmpd="sng">
            <a:solidFill>
              <a:schemeClr val="accent6">
                <a:lumMod val="75000"/>
              </a:schemeClr>
            </a:solidFill>
            <a:round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202BE3E-6180-FE92-C8E7-B59011BC25FE}"/>
              </a:ext>
            </a:extLst>
          </p:cNvPr>
          <p:cNvCxnSpPr>
            <a:cxnSpLocks/>
          </p:cNvCxnSpPr>
          <p:nvPr/>
        </p:nvCxnSpPr>
        <p:spPr>
          <a:xfrm flipV="1">
            <a:off x="2904031" y="5063836"/>
            <a:ext cx="584200" cy="444500"/>
          </a:xfrm>
          <a:prstGeom prst="straightConnector1">
            <a:avLst/>
          </a:prstGeom>
          <a:ln w="31750" cmpd="sng">
            <a:solidFill>
              <a:schemeClr val="accent6">
                <a:lumMod val="75000"/>
              </a:schemeClr>
            </a:solidFill>
            <a:round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915B5ED-A3BB-4D14-B4DA-CBE51B6DA1DE}"/>
              </a:ext>
            </a:extLst>
          </p:cNvPr>
          <p:cNvCxnSpPr>
            <a:cxnSpLocks/>
          </p:cNvCxnSpPr>
          <p:nvPr/>
        </p:nvCxnSpPr>
        <p:spPr>
          <a:xfrm>
            <a:off x="5530850" y="4528413"/>
            <a:ext cx="673100" cy="0"/>
          </a:xfrm>
          <a:prstGeom prst="straightConnector1">
            <a:avLst/>
          </a:prstGeom>
          <a:ln w="38100" cmpd="sng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D8DBBFC-3D3E-F3E1-D998-5D832CF3EB87}"/>
              </a:ext>
            </a:extLst>
          </p:cNvPr>
          <p:cNvCxnSpPr>
            <a:cxnSpLocks/>
          </p:cNvCxnSpPr>
          <p:nvPr/>
        </p:nvCxnSpPr>
        <p:spPr>
          <a:xfrm>
            <a:off x="3262859" y="5959763"/>
            <a:ext cx="2429400" cy="0"/>
          </a:xfrm>
          <a:prstGeom prst="straightConnector1">
            <a:avLst/>
          </a:prstGeom>
          <a:ln w="38100" cmpd="sng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2E179CE-4D1C-9367-F806-799A2FD0D599}"/>
              </a:ext>
            </a:extLst>
          </p:cNvPr>
          <p:cNvCxnSpPr>
            <a:cxnSpLocks/>
          </p:cNvCxnSpPr>
          <p:nvPr/>
        </p:nvCxnSpPr>
        <p:spPr>
          <a:xfrm>
            <a:off x="3262859" y="2913202"/>
            <a:ext cx="2350771" cy="0"/>
          </a:xfrm>
          <a:prstGeom prst="straightConnector1">
            <a:avLst/>
          </a:prstGeom>
          <a:ln w="38100" cmpd="sng">
            <a:solidFill>
              <a:schemeClr val="accent6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2">
            <a:extLst>
              <a:ext uri="{FF2B5EF4-FFF2-40B4-BE49-F238E27FC236}">
                <a16:creationId xmlns:a16="http://schemas.microsoft.com/office/drawing/2014/main" id="{91556F50-6B70-6488-1495-22C5009D4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86023" y="469694"/>
            <a:ext cx="5967877" cy="590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7049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lanet earth with orange light&#10;&#10;Description automatically generated with medium confidence">
            <a:extLst>
              <a:ext uri="{FF2B5EF4-FFF2-40B4-BE49-F238E27FC236}">
                <a16:creationId xmlns:a16="http://schemas.microsoft.com/office/drawing/2014/main" id="{75A7396D-2183-7E36-226F-FEB56F8CBC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80" r="2559"/>
          <a:stretch/>
        </p:blipFill>
        <p:spPr>
          <a:xfrm>
            <a:off x="280484" y="0"/>
            <a:ext cx="11911516" cy="6712526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5" name="Graphic 4" descr="Back with solid fill">
            <a:extLst>
              <a:ext uri="{FF2B5EF4-FFF2-40B4-BE49-F238E27FC236}">
                <a16:creationId xmlns:a16="http://schemas.microsoft.com/office/drawing/2014/main" id="{97F813E5-0AE1-17D9-276F-959E66A157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917701" flipH="1">
            <a:off x="6960002" y="1933299"/>
            <a:ext cx="1693810" cy="1278649"/>
          </a:xfrm>
          <a:prstGeom prst="rect">
            <a:avLst/>
          </a:prstGeom>
        </p:spPr>
      </p:pic>
      <p:pic>
        <p:nvPicPr>
          <p:cNvPr id="6" name="Graphic 5" descr="Back with solid fill">
            <a:extLst>
              <a:ext uri="{FF2B5EF4-FFF2-40B4-BE49-F238E27FC236}">
                <a16:creationId xmlns:a16="http://schemas.microsoft.com/office/drawing/2014/main" id="{68C6CD38-E656-41B9-C8DD-2B41743213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1589516" flipH="1">
            <a:off x="5333051" y="4129208"/>
            <a:ext cx="1928354" cy="1790123"/>
          </a:xfrm>
          <a:prstGeom prst="rect">
            <a:avLst/>
          </a:prstGeom>
        </p:spPr>
      </p:pic>
      <p:pic>
        <p:nvPicPr>
          <p:cNvPr id="7" name="Graphic 6" descr="Back with solid fill">
            <a:extLst>
              <a:ext uri="{FF2B5EF4-FFF2-40B4-BE49-F238E27FC236}">
                <a16:creationId xmlns:a16="http://schemas.microsoft.com/office/drawing/2014/main" id="{17D3462A-C6CE-6DF3-A912-F609AAC4CC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9054347" flipH="1">
            <a:off x="3395440" y="1259351"/>
            <a:ext cx="2650944" cy="2435282"/>
          </a:xfrm>
          <a:prstGeom prst="rect">
            <a:avLst/>
          </a:prstGeom>
        </p:spPr>
      </p:pic>
      <p:sp>
        <p:nvSpPr>
          <p:cNvPr id="12" name="Trapezoid 11">
            <a:extLst>
              <a:ext uri="{FF2B5EF4-FFF2-40B4-BE49-F238E27FC236}">
                <a16:creationId xmlns:a16="http://schemas.microsoft.com/office/drawing/2014/main" id="{0912A9D4-5296-4128-41E5-4BBEC8F3D9ED}"/>
              </a:ext>
            </a:extLst>
          </p:cNvPr>
          <p:cNvSpPr/>
          <p:nvPr/>
        </p:nvSpPr>
        <p:spPr>
          <a:xfrm rot="5734557">
            <a:off x="2610012" y="1938985"/>
            <a:ext cx="1495104" cy="1624424"/>
          </a:xfrm>
          <a:prstGeom prst="trapezoid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18570A1D-2F86-4DFB-C73A-181F68B861CE}"/>
              </a:ext>
            </a:extLst>
          </p:cNvPr>
          <p:cNvSpPr/>
          <p:nvPr/>
        </p:nvSpPr>
        <p:spPr>
          <a:xfrm rot="14668319">
            <a:off x="7906519" y="1275134"/>
            <a:ext cx="1404085" cy="1358992"/>
          </a:xfrm>
          <a:prstGeom prst="trapezoid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BCE0CF-1FEA-4024-D70F-BDD223505BF0}"/>
              </a:ext>
            </a:extLst>
          </p:cNvPr>
          <p:cNvSpPr txBox="1"/>
          <p:nvPr/>
        </p:nvSpPr>
        <p:spPr>
          <a:xfrm>
            <a:off x="2729848" y="2384452"/>
            <a:ext cx="14118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latin typeface="+mj-lt"/>
              </a:rPr>
              <a:t>Many urban slum dwellers highly vulnerable to climate hazar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045909-F6DB-2609-8CE7-DD18BF7BCE60}"/>
              </a:ext>
            </a:extLst>
          </p:cNvPr>
          <p:cNvSpPr txBox="1"/>
          <p:nvPr/>
        </p:nvSpPr>
        <p:spPr>
          <a:xfrm>
            <a:off x="8148098" y="1563785"/>
            <a:ext cx="10599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>
                <a:latin typeface="+mj-lt"/>
              </a:rPr>
              <a:t>May be multiple displacements or mov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AC304F0-132F-3D85-1D70-9495AB7DEB56}"/>
              </a:ext>
            </a:extLst>
          </p:cNvPr>
          <p:cNvSpPr/>
          <p:nvPr/>
        </p:nvSpPr>
        <p:spPr>
          <a:xfrm>
            <a:off x="4083501" y="3337930"/>
            <a:ext cx="1769238" cy="1745547"/>
          </a:xfrm>
          <a:prstGeom prst="ellipse">
            <a:avLst/>
          </a:prstGeom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F1B707-D389-0C5C-BA4F-74702ECF3C27}"/>
              </a:ext>
            </a:extLst>
          </p:cNvPr>
          <p:cNvSpPr txBox="1"/>
          <p:nvPr/>
        </p:nvSpPr>
        <p:spPr>
          <a:xfrm>
            <a:off x="4138936" y="3810330"/>
            <a:ext cx="164795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>
                <a:solidFill>
                  <a:schemeClr val="bg1"/>
                </a:solidFill>
                <a:latin typeface="+mj-lt"/>
              </a:rPr>
              <a:t>Many migrate to urban areas seeking jobs and servic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4C9618D-3EE9-26F6-3D63-D462BCCD7DC9}"/>
              </a:ext>
            </a:extLst>
          </p:cNvPr>
          <p:cNvSpPr/>
          <p:nvPr/>
        </p:nvSpPr>
        <p:spPr>
          <a:xfrm>
            <a:off x="6965265" y="3309101"/>
            <a:ext cx="1769238" cy="1745547"/>
          </a:xfrm>
          <a:prstGeom prst="ellipse">
            <a:avLst/>
          </a:prstGeom>
          <a:ln>
            <a:noFill/>
          </a:ln>
          <a:effectLst>
            <a:outerShdw blurRad="63500" sx="101000" sy="101000" algn="ctr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2827C16-A7E1-EA3A-1C6B-F92DB5CD177D}"/>
              </a:ext>
            </a:extLst>
          </p:cNvPr>
          <p:cNvSpPr/>
          <p:nvPr/>
        </p:nvSpPr>
        <p:spPr>
          <a:xfrm>
            <a:off x="5508052" y="975789"/>
            <a:ext cx="1769238" cy="1745547"/>
          </a:xfrm>
          <a:prstGeom prst="ellipse">
            <a:avLst/>
          </a:prstGeom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15ED3D0-9E36-EB5C-2FA5-BA3CAADE770D}"/>
              </a:ext>
            </a:extLst>
          </p:cNvPr>
          <p:cNvSpPr txBox="1"/>
          <p:nvPr/>
        </p:nvSpPr>
        <p:spPr>
          <a:xfrm>
            <a:off x="5550051" y="1418912"/>
            <a:ext cx="168524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+mj-lt"/>
              </a:rPr>
              <a:t>Climate crisis impacts getting wor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588F45-F021-522C-3882-4EE3AEA81792}"/>
              </a:ext>
            </a:extLst>
          </p:cNvPr>
          <p:cNvSpPr txBox="1"/>
          <p:nvPr/>
        </p:nvSpPr>
        <p:spPr>
          <a:xfrm>
            <a:off x="946782" y="278903"/>
            <a:ext cx="26848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dirty="0">
                <a:solidFill>
                  <a:schemeClr val="bg1"/>
                </a:solidFill>
                <a:latin typeface="Oswald Medium"/>
              </a:rPr>
              <a:t>Climate change</a:t>
            </a:r>
            <a:endParaRPr lang="en-CA" sz="32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821DF61-BFB7-0C96-03C7-4896C358B8C8}"/>
              </a:ext>
            </a:extLst>
          </p:cNvPr>
          <p:cNvSpPr/>
          <p:nvPr/>
        </p:nvSpPr>
        <p:spPr>
          <a:xfrm>
            <a:off x="848032" y="383458"/>
            <a:ext cx="68181" cy="14066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C0746F8-4482-F86D-F523-F644FA67E417}"/>
              </a:ext>
            </a:extLst>
          </p:cNvPr>
          <p:cNvSpPr txBox="1"/>
          <p:nvPr/>
        </p:nvSpPr>
        <p:spPr>
          <a:xfrm>
            <a:off x="7025908" y="3616170"/>
            <a:ext cx="16479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>
                <a:solidFill>
                  <a:schemeClr val="bg1"/>
                </a:solidFill>
                <a:latin typeface="+mj-lt"/>
              </a:rPr>
              <a:t>More children and families migrate in order to cope or just survive </a:t>
            </a:r>
          </a:p>
        </p:txBody>
      </p:sp>
      <p:sp>
        <p:nvSpPr>
          <p:cNvPr id="37" name="Trapezoid 36">
            <a:extLst>
              <a:ext uri="{FF2B5EF4-FFF2-40B4-BE49-F238E27FC236}">
                <a16:creationId xmlns:a16="http://schemas.microsoft.com/office/drawing/2014/main" id="{CFBC40B6-18DD-4E12-A575-057953635461}"/>
              </a:ext>
            </a:extLst>
          </p:cNvPr>
          <p:cNvSpPr/>
          <p:nvPr/>
        </p:nvSpPr>
        <p:spPr>
          <a:xfrm rot="20779699">
            <a:off x="5824154" y="5248205"/>
            <a:ext cx="2059219" cy="1236566"/>
          </a:xfrm>
          <a:prstGeom prst="trapezoid">
            <a:avLst>
              <a:gd name="adj" fmla="val 46386"/>
            </a:avLst>
          </a:pr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91C8819-36AD-B621-E029-1C72B44FD12B}"/>
              </a:ext>
            </a:extLst>
          </p:cNvPr>
          <p:cNvSpPr txBox="1"/>
          <p:nvPr/>
        </p:nvSpPr>
        <p:spPr>
          <a:xfrm>
            <a:off x="6170507" y="5446255"/>
            <a:ext cx="1522348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dirty="0">
                <a:latin typeface="+mj-lt"/>
              </a:rPr>
              <a:t>Children are from </a:t>
            </a:r>
          </a:p>
          <a:p>
            <a:r>
              <a:rPr lang="en-GB" sz="1100" dirty="0">
                <a:latin typeface="+mj-lt"/>
              </a:rPr>
              <a:t>‘other’ communities making inclusion and access to services difficul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B3726BC-2EF0-8219-2F90-706D71D91A21}"/>
              </a:ext>
            </a:extLst>
          </p:cNvPr>
          <p:cNvSpPr/>
          <p:nvPr/>
        </p:nvSpPr>
        <p:spPr>
          <a:xfrm>
            <a:off x="280484" y="6710609"/>
            <a:ext cx="11911516" cy="1631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2" name="Picture 41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70447D20-3D0B-2DC3-CA3C-C81C708369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59116" y="3531347"/>
            <a:ext cx="261796" cy="261796"/>
          </a:xfrm>
          <a:prstGeom prst="rect">
            <a:avLst/>
          </a:prstGeom>
        </p:spPr>
      </p:pic>
      <p:pic>
        <p:nvPicPr>
          <p:cNvPr id="45" name="Picture 44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8D47CA78-592A-B851-3E4F-B47CB6E8C5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1116" y="3605688"/>
            <a:ext cx="261796" cy="261796"/>
          </a:xfrm>
          <a:prstGeom prst="rect">
            <a:avLst/>
          </a:prstGeom>
        </p:spPr>
      </p:pic>
      <p:pic>
        <p:nvPicPr>
          <p:cNvPr id="46" name="Picture 45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940CE32E-81B0-DF02-9251-B6D9A9F9C5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6184" y="3421233"/>
            <a:ext cx="261796" cy="261796"/>
          </a:xfrm>
          <a:prstGeom prst="rect">
            <a:avLst/>
          </a:prstGeom>
        </p:spPr>
      </p:pic>
      <p:pic>
        <p:nvPicPr>
          <p:cNvPr id="47" name="Picture 46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03F85176-765B-B945-A8DB-B4BCF7D9A2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2002" y="3607287"/>
            <a:ext cx="261796" cy="261796"/>
          </a:xfrm>
          <a:prstGeom prst="rect">
            <a:avLst/>
          </a:prstGeom>
        </p:spPr>
      </p:pic>
      <p:pic>
        <p:nvPicPr>
          <p:cNvPr id="48" name="Picture 47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00E67AC4-F870-A540-1D49-70ECFF236C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3203" y="3460332"/>
            <a:ext cx="261796" cy="261796"/>
          </a:xfrm>
          <a:prstGeom prst="rect">
            <a:avLst/>
          </a:prstGeom>
        </p:spPr>
      </p:pic>
      <p:pic>
        <p:nvPicPr>
          <p:cNvPr id="49" name="Picture 48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6544FB4A-5108-AEA1-D0D1-15105E3990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3231" y="4533992"/>
            <a:ext cx="261796" cy="261796"/>
          </a:xfrm>
          <a:prstGeom prst="rect">
            <a:avLst/>
          </a:prstGeom>
        </p:spPr>
      </p:pic>
      <p:pic>
        <p:nvPicPr>
          <p:cNvPr id="50" name="Picture 49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3747E9DD-6EC6-E892-9998-AD056C301B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63021" y="4462770"/>
            <a:ext cx="261796" cy="261796"/>
          </a:xfrm>
          <a:prstGeom prst="rect">
            <a:avLst/>
          </a:prstGeom>
        </p:spPr>
      </p:pic>
      <p:pic>
        <p:nvPicPr>
          <p:cNvPr id="51" name="Picture 50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13DAD1AB-BB3C-AB9B-FE59-D514A1CE23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0466" y="4610855"/>
            <a:ext cx="261796" cy="261796"/>
          </a:xfrm>
          <a:prstGeom prst="rect">
            <a:avLst/>
          </a:prstGeom>
        </p:spPr>
      </p:pic>
      <p:pic>
        <p:nvPicPr>
          <p:cNvPr id="52" name="Picture 51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E8741EAE-3073-BD89-1D0F-36A1FA9CED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0237" y="4497085"/>
            <a:ext cx="261796" cy="261796"/>
          </a:xfrm>
          <a:prstGeom prst="rect">
            <a:avLst/>
          </a:prstGeom>
        </p:spPr>
      </p:pic>
      <p:pic>
        <p:nvPicPr>
          <p:cNvPr id="53" name="Picture 52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5A3B6AA7-B53A-D515-4812-87EEB9A725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0450" y="4672355"/>
            <a:ext cx="261796" cy="261796"/>
          </a:xfrm>
          <a:prstGeom prst="rect">
            <a:avLst/>
          </a:prstGeom>
        </p:spPr>
      </p:pic>
      <p:pic>
        <p:nvPicPr>
          <p:cNvPr id="55" name="Picture 54" descr="A white house and waves&#10;&#10;Description automatically generated">
            <a:extLst>
              <a:ext uri="{FF2B5EF4-FFF2-40B4-BE49-F238E27FC236}">
                <a16:creationId xmlns:a16="http://schemas.microsoft.com/office/drawing/2014/main" id="{2E879F58-AEF2-9E9D-143E-4E9A855EA5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8602" y="2039923"/>
            <a:ext cx="555803" cy="555803"/>
          </a:xfrm>
          <a:prstGeom prst="rect">
            <a:avLst/>
          </a:prstGeom>
        </p:spPr>
      </p:pic>
      <p:pic>
        <p:nvPicPr>
          <p:cNvPr id="58" name="Picture 57" descr="A white palm tree on a black background&#10;&#10;Description automatically generated">
            <a:extLst>
              <a:ext uri="{FF2B5EF4-FFF2-40B4-BE49-F238E27FC236}">
                <a16:creationId xmlns:a16="http://schemas.microsoft.com/office/drawing/2014/main" id="{3FB8E4F2-49D7-1C7D-11D7-188F0DC6ED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8277609" y="4497085"/>
            <a:ext cx="227643" cy="295924"/>
          </a:xfrm>
          <a:prstGeom prst="rect">
            <a:avLst/>
          </a:prstGeom>
        </p:spPr>
      </p:pic>
      <p:pic>
        <p:nvPicPr>
          <p:cNvPr id="59" name="Picture 58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4FD9D2A4-D449-BB87-FEB4-D7BA61BC69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8144" y="4568338"/>
            <a:ext cx="261796" cy="261796"/>
          </a:xfrm>
          <a:prstGeom prst="rect">
            <a:avLst/>
          </a:prstGeom>
        </p:spPr>
      </p:pic>
      <p:pic>
        <p:nvPicPr>
          <p:cNvPr id="60" name="Picture 59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18D24DE3-40A1-F34D-89FD-7C1C89EF1E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8572" y="4716149"/>
            <a:ext cx="261796" cy="261796"/>
          </a:xfrm>
          <a:prstGeom prst="rect">
            <a:avLst/>
          </a:prstGeom>
        </p:spPr>
      </p:pic>
      <p:pic>
        <p:nvPicPr>
          <p:cNvPr id="62" name="Picture 61" descr="A white figure with arms out&#10;&#10;Description automatically generated">
            <a:extLst>
              <a:ext uri="{FF2B5EF4-FFF2-40B4-BE49-F238E27FC236}">
                <a16:creationId xmlns:a16="http://schemas.microsoft.com/office/drawing/2014/main" id="{5097C839-ECF0-9673-34D9-DDD0D1FC13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7194457" y="4450267"/>
            <a:ext cx="439197" cy="450096"/>
          </a:xfrm>
          <a:prstGeom prst="rect">
            <a:avLst/>
          </a:prstGeom>
        </p:spPr>
      </p:pic>
      <p:pic>
        <p:nvPicPr>
          <p:cNvPr id="63" name="Picture 62" descr="A white figure with arms out&#10;&#10;Description automatically generated">
            <a:extLst>
              <a:ext uri="{FF2B5EF4-FFF2-40B4-BE49-F238E27FC236}">
                <a16:creationId xmlns:a16="http://schemas.microsoft.com/office/drawing/2014/main" id="{7253B7CB-349B-486C-669C-3D43276622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7532253" y="4660795"/>
            <a:ext cx="263446" cy="269984"/>
          </a:xfrm>
          <a:prstGeom prst="rect">
            <a:avLst/>
          </a:prstGeom>
        </p:spPr>
      </p:pic>
      <p:pic>
        <p:nvPicPr>
          <p:cNvPr id="64" name="Picture 63" descr="A white figure with arms out&#10;&#10;Description automatically generated">
            <a:extLst>
              <a:ext uri="{FF2B5EF4-FFF2-40B4-BE49-F238E27FC236}">
                <a16:creationId xmlns:a16="http://schemas.microsoft.com/office/drawing/2014/main" id="{348AE5D9-82C9-62EB-C8FB-096399A876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7795699" y="4724566"/>
            <a:ext cx="190367" cy="195091"/>
          </a:xfrm>
          <a:prstGeom prst="rect">
            <a:avLst/>
          </a:prstGeom>
        </p:spPr>
      </p:pic>
      <p:pic>
        <p:nvPicPr>
          <p:cNvPr id="67" name="Picture 66" descr="A white flame on a black background&#10;&#10;Description automatically generated">
            <a:extLst>
              <a:ext uri="{FF2B5EF4-FFF2-40B4-BE49-F238E27FC236}">
                <a16:creationId xmlns:a16="http://schemas.microsoft.com/office/drawing/2014/main" id="{27968D80-B71E-C015-B1CF-06433C1630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65644" y="2505373"/>
            <a:ext cx="382573" cy="382573"/>
          </a:xfrm>
          <a:prstGeom prst="rect">
            <a:avLst/>
          </a:prstGeom>
        </p:spPr>
      </p:pic>
      <p:pic>
        <p:nvPicPr>
          <p:cNvPr id="2" name="Picture 1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D3D8095A-BD86-1856-F301-AF390A4F12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4103" y="2944701"/>
            <a:ext cx="261796" cy="261796"/>
          </a:xfrm>
          <a:prstGeom prst="rect">
            <a:avLst/>
          </a:prstGeom>
        </p:spPr>
      </p:pic>
      <p:pic>
        <p:nvPicPr>
          <p:cNvPr id="4" name="Picture 3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8F775A6D-CC5B-BDD4-9DB2-7205478611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71543" y="3256645"/>
            <a:ext cx="186051" cy="186051"/>
          </a:xfrm>
          <a:prstGeom prst="rect">
            <a:avLst/>
          </a:prstGeom>
        </p:spPr>
      </p:pic>
      <p:pic>
        <p:nvPicPr>
          <p:cNvPr id="8" name="Picture 7" descr="A white house with a black background&#10;&#10;Description automatically generated">
            <a:extLst>
              <a:ext uri="{FF2B5EF4-FFF2-40B4-BE49-F238E27FC236}">
                <a16:creationId xmlns:a16="http://schemas.microsoft.com/office/drawing/2014/main" id="{FE4F1A36-CAFF-EF93-C7F1-6DF017FEE2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6589" y="3419637"/>
            <a:ext cx="186051" cy="186051"/>
          </a:xfrm>
          <a:prstGeom prst="rect">
            <a:avLst/>
          </a:prstGeom>
        </p:spPr>
      </p:pic>
      <p:pic>
        <p:nvPicPr>
          <p:cNvPr id="16" name="Picture 15" descr="A white arrows pointing to a black background&#10;&#10;Description automatically generated">
            <a:extLst>
              <a:ext uri="{FF2B5EF4-FFF2-40B4-BE49-F238E27FC236}">
                <a16:creationId xmlns:a16="http://schemas.microsoft.com/office/drawing/2014/main" id="{11809100-9E63-CA3D-078D-3E14B2A86A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5685168" y="2851977"/>
            <a:ext cx="1342684" cy="133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547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C88EBD16-0BFF-4A63-9A70-3AB6BA6AEDFC}"/>
              </a:ext>
            </a:extLst>
          </p:cNvPr>
          <p:cNvSpPr/>
          <p:nvPr/>
        </p:nvSpPr>
        <p:spPr>
          <a:xfrm>
            <a:off x="3350335" y="2998924"/>
            <a:ext cx="7010400" cy="313863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30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8EB7B74-AB17-4CF0-8F68-1667D112ECEF}"/>
              </a:ext>
            </a:extLst>
          </p:cNvPr>
          <p:cNvSpPr/>
          <p:nvPr/>
        </p:nvSpPr>
        <p:spPr>
          <a:xfrm>
            <a:off x="6017335" y="3140969"/>
            <a:ext cx="2590800" cy="1600199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20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ECE1149-8011-4F2F-872F-BEFBEBC6EE3A}"/>
              </a:ext>
            </a:extLst>
          </p:cNvPr>
          <p:cNvSpPr/>
          <p:nvPr/>
        </p:nvSpPr>
        <p:spPr>
          <a:xfrm>
            <a:off x="2588335" y="1551124"/>
            <a:ext cx="2743200" cy="156329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it-IT" altLang="en-US" sz="1600" b="0" dirty="0"/>
              <a:t>International </a:t>
            </a:r>
          </a:p>
          <a:p>
            <a:pPr algn="ctr" eaLnBrk="1" hangingPunct="1"/>
            <a:r>
              <a:rPr lang="it-IT" altLang="en-US" sz="1600" b="0" dirty="0"/>
              <a:t>armed conflict</a:t>
            </a:r>
            <a:endParaRPr lang="en-US" altLang="en-US" sz="1600" b="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2751A8B-E79D-4816-AFEC-C0B83B4F1DE1}"/>
              </a:ext>
            </a:extLst>
          </p:cNvPr>
          <p:cNvSpPr/>
          <p:nvPr/>
        </p:nvSpPr>
        <p:spPr>
          <a:xfrm>
            <a:off x="1445335" y="255724"/>
            <a:ext cx="6948487" cy="342900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endParaRPr lang="en-US" altLang="en-US" sz="20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88A6E2B-370E-4BEC-9976-B8FA64831A33}"/>
              </a:ext>
            </a:extLst>
          </p:cNvPr>
          <p:cNvSpPr/>
          <p:nvPr/>
        </p:nvSpPr>
        <p:spPr>
          <a:xfrm>
            <a:off x="3731335" y="2846524"/>
            <a:ext cx="2743200" cy="17526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s-ES_tradnl" altLang="en-US" sz="1600" b="0" dirty="0"/>
          </a:p>
          <a:p>
            <a:pPr algn="ctr" eaLnBrk="1" hangingPunct="1"/>
            <a:endParaRPr lang="es-ES_tradnl" altLang="en-US" sz="1600" b="0" dirty="0"/>
          </a:p>
          <a:p>
            <a:pPr algn="ctr" eaLnBrk="1" hangingPunct="1"/>
            <a:r>
              <a:rPr lang="es-ES_tradnl" altLang="en-US" sz="1600" b="0" dirty="0" err="1"/>
              <a:t>Community</a:t>
            </a:r>
            <a:r>
              <a:rPr lang="es-ES_tradnl" altLang="en-US" sz="1600" b="0" dirty="0"/>
              <a:t> </a:t>
            </a:r>
            <a:r>
              <a:rPr lang="es-ES_tradnl" altLang="en-US" sz="1600" b="0" dirty="0" err="1"/>
              <a:t>violence</a:t>
            </a:r>
            <a:endParaRPr lang="en-US" altLang="en-US" sz="1600" b="0" dirty="0"/>
          </a:p>
        </p:txBody>
      </p:sp>
      <p:sp>
        <p:nvSpPr>
          <p:cNvPr id="9" name="Curved Down Arrow 8">
            <a:extLst>
              <a:ext uri="{FF2B5EF4-FFF2-40B4-BE49-F238E27FC236}">
                <a16:creationId xmlns:a16="http://schemas.microsoft.com/office/drawing/2014/main" id="{CF1BCF0C-ACB9-43BC-A84B-752B97543DF4}"/>
              </a:ext>
            </a:extLst>
          </p:cNvPr>
          <p:cNvSpPr/>
          <p:nvPr/>
        </p:nvSpPr>
        <p:spPr>
          <a:xfrm rot="13875098">
            <a:off x="680082" y="4121975"/>
            <a:ext cx="3660559" cy="670189"/>
          </a:xfrm>
          <a:prstGeom prst="curvedDownArrow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0" name="Curved Down Arrow 10">
            <a:extLst>
              <a:ext uri="{FF2B5EF4-FFF2-40B4-BE49-F238E27FC236}">
                <a16:creationId xmlns:a16="http://schemas.microsoft.com/office/drawing/2014/main" id="{F5A28F72-6674-4540-AFAA-18DB51789029}"/>
              </a:ext>
            </a:extLst>
          </p:cNvPr>
          <p:cNvSpPr/>
          <p:nvPr/>
        </p:nvSpPr>
        <p:spPr>
          <a:xfrm rot="3249673">
            <a:off x="7024529" y="1572259"/>
            <a:ext cx="3849759" cy="737365"/>
          </a:xfrm>
          <a:prstGeom prst="curvedDownArrow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6ED66D-01E7-4E87-99D7-2AE7E4BC89CE}"/>
              </a:ext>
            </a:extLst>
          </p:cNvPr>
          <p:cNvSpPr txBox="1"/>
          <p:nvPr/>
        </p:nvSpPr>
        <p:spPr>
          <a:xfrm>
            <a:off x="6603013" y="3621021"/>
            <a:ext cx="1304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omestic viol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211F03-F77C-4F6B-A903-3014787721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5535" y="865325"/>
            <a:ext cx="37338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en-US" sz="3000" dirty="0"/>
              <a:t>Collective violence</a:t>
            </a:r>
            <a:endParaRPr lang="en-US" altLang="en-US" sz="30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5B468EA-EF32-4A62-B11B-B0F9B1BD7347}"/>
              </a:ext>
            </a:extLst>
          </p:cNvPr>
          <p:cNvSpPr/>
          <p:nvPr/>
        </p:nvSpPr>
        <p:spPr>
          <a:xfrm>
            <a:off x="5102935" y="1703524"/>
            <a:ext cx="2362200" cy="148709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it-IT" altLang="en-US" sz="1600" b="0" dirty="0"/>
              <a:t>Subnational armed conflict</a:t>
            </a:r>
            <a:endParaRPr lang="en-US" altLang="en-US" sz="1600" b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137966-E99E-4D77-ACA9-9233CBBA41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2935" y="5111926"/>
            <a:ext cx="43434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en-US" sz="3000" dirty="0"/>
              <a:t>Interpersonal violence</a:t>
            </a:r>
            <a:endParaRPr lang="en-US" altLang="en-US" sz="3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C8FEB9-A085-4322-83BD-D9CDEA9FF620}"/>
              </a:ext>
            </a:extLst>
          </p:cNvPr>
          <p:cNvSpPr txBox="1"/>
          <p:nvPr/>
        </p:nvSpPr>
        <p:spPr>
          <a:xfrm>
            <a:off x="9217715" y="1415098"/>
            <a:ext cx="24342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ocial arrangements </a:t>
            </a:r>
          </a:p>
          <a:p>
            <a:pPr algn="ctr"/>
            <a:r>
              <a:rPr lang="en-US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tructural violence economic violenc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292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7100"/>
    </mc:Choice>
    <mc:Fallback xmlns="">
      <p:transition spd="slow" advTm="107100"/>
    </mc:Fallback>
  </mc:AlternateContent>
  <p:extLst>
    <p:ext uri="{E180D4A7-C9FB-4DFB-919C-405C955672EB}">
      <p14:showEvtLst xmlns:p14="http://schemas.microsoft.com/office/powerpoint/2010/main">
        <p14:playEvt time="915" objId="16"/>
        <p14:stopEvt time="101456" objId="16"/>
        <p14:playEvt time="101459" objId="16"/>
        <p14:stopEvt time="106982" objId="16"/>
      </p14:showEvtLst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374D53-A420-87AA-47DC-D495C9388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ly:</a:t>
            </a:r>
            <a:br>
              <a:rPr lang="en-US" dirty="0"/>
            </a:br>
            <a:r>
              <a:rPr lang="en-US" dirty="0"/>
              <a:t>A child survival cri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D86E5E-6972-2D05-108F-5B38320A8042}"/>
              </a:ext>
            </a:extLst>
          </p:cNvPr>
          <p:cNvSpPr txBox="1"/>
          <p:nvPr/>
        </p:nvSpPr>
        <p:spPr>
          <a:xfrm>
            <a:off x="6345902" y="309245"/>
            <a:ext cx="5680998" cy="646330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&gt;5 million children dying annually before fifth birthday from preventable and treatable causes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80% of these children were in </a:t>
            </a:r>
            <a:r>
              <a:rPr lang="en-US" dirty="0">
                <a:ea typeface="Lato"/>
                <a:cs typeface="Lato"/>
                <a:hlinkClick r:id="rId3"/>
              </a:rPr>
              <a:t>Africa</a:t>
            </a:r>
            <a:r>
              <a:rPr lang="en-US" dirty="0">
                <a:ea typeface="Lato"/>
                <a:cs typeface="Lato"/>
              </a:rPr>
              <a:t> and Asia</a:t>
            </a:r>
            <a:br>
              <a:rPr lang="en-US" dirty="0">
                <a:ea typeface="Lato"/>
                <a:cs typeface="Lato"/>
              </a:rPr>
            </a:br>
            <a:endParaRPr lang="en-US" dirty="0">
              <a:ea typeface="Lato"/>
              <a:cs typeface="Lato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12.7 million children across Africa were under-vaccinated in 2021, including 8.7 million “zero dose” children (</a:t>
            </a:r>
            <a:r>
              <a:rPr lang="en-US" dirty="0">
                <a:ea typeface="Lato"/>
                <a:cs typeface="Lato"/>
                <a:hlinkClick r:id="rId4"/>
              </a:rPr>
              <a:t>UNICEF SOWC 2023</a:t>
            </a:r>
            <a:r>
              <a:rPr lang="en-US" dirty="0">
                <a:ea typeface="Lato"/>
                <a:cs typeface="Lato"/>
              </a:rPr>
              <a:t>)</a:t>
            </a:r>
          </a:p>
          <a:p>
            <a:pPr marL="285750" indent="-285750">
              <a:buFont typeface="Arial"/>
              <a:buChar char="•"/>
            </a:pPr>
            <a:endParaRPr lang="en-US" dirty="0">
              <a:ea typeface="Lato"/>
              <a:cs typeface="Lato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Lack of routine catch up immunization schedules means many of these children are not able to access immunization outside of a campaign </a:t>
            </a:r>
            <a:br>
              <a:rPr lang="en-US" dirty="0">
                <a:ea typeface="Lato"/>
                <a:cs typeface="Lato"/>
              </a:rPr>
            </a:br>
            <a:endParaRPr lang="en-US" dirty="0">
              <a:ea typeface="Lato"/>
              <a:cs typeface="Lato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12.2 million acutely malnourished children in Africa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Stunting prevalence 30.7%; global average 22%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Unknown prevalence of these stressors on child development trajectories </a:t>
            </a:r>
            <a:r>
              <a:rPr lang="en-US" dirty="0">
                <a:ea typeface="Lato"/>
                <a:cs typeface="Lato"/>
                <a:sym typeface="Wingdings" panose="05000000000000000000" pitchFamily="2" charset="2"/>
              </a:rPr>
              <a:t> </a:t>
            </a:r>
            <a:r>
              <a:rPr lang="en-US" dirty="0">
                <a:ea typeface="Lato"/>
                <a:cs typeface="Lato"/>
              </a:rPr>
              <a:t> and life outcomes</a:t>
            </a:r>
            <a:br>
              <a:rPr lang="en-US" dirty="0">
                <a:ea typeface="Lato"/>
                <a:cs typeface="Lato"/>
              </a:rPr>
            </a:br>
            <a:endParaRPr lang="en-US" dirty="0">
              <a:ea typeface="Lato"/>
              <a:cs typeface="Lato"/>
            </a:endParaRPr>
          </a:p>
          <a:p>
            <a:pPr marL="285750" indent="-285750">
              <a:buFont typeface="Calibri"/>
              <a:buChar char="-"/>
            </a:pPr>
            <a:r>
              <a:rPr lang="en-US" dirty="0">
                <a:ea typeface="Lato"/>
                <a:cs typeface="Lato"/>
              </a:rPr>
              <a:t>Crises have pervasive impacts on child public health – don’t wait for a public health emergency to be declared</a:t>
            </a:r>
          </a:p>
          <a:p>
            <a:pPr marL="285750" indent="-285750">
              <a:buFont typeface="Calibri"/>
              <a:buChar char="-"/>
            </a:pPr>
            <a:r>
              <a:rPr lang="en-GB" dirty="0">
                <a:hlinkClick r:id="rId5"/>
              </a:rPr>
              <a:t>Locations - Humanitarian Data Exchange (humdata.org)</a:t>
            </a:r>
            <a:endParaRPr lang="en-US" dirty="0">
              <a:ea typeface="Lato"/>
              <a:cs typeface="Lato"/>
            </a:endParaRPr>
          </a:p>
          <a:p>
            <a:pPr marL="285750" indent="-285750">
              <a:buFont typeface="Calibri"/>
              <a:buChar char="-"/>
            </a:pPr>
            <a:endParaRPr lang="en-US" dirty="0">
              <a:solidFill>
                <a:schemeClr val="bg1"/>
              </a:solidFill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76661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B06BDBF-EDDD-779A-D1A8-05CE674D4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04" y="500743"/>
            <a:ext cx="9528048" cy="936171"/>
          </a:xfrm>
        </p:spPr>
        <p:txBody>
          <a:bodyPr/>
          <a:lstStyle/>
          <a:p>
            <a:r>
              <a:rPr lang="en-GB" dirty="0"/>
              <a:t>Greater Horn of Africa 2023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0D3998-2FF2-DD46-2DCE-FFBD01993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2" y="1621971"/>
            <a:ext cx="5843067" cy="4996543"/>
          </a:xfrm>
        </p:spPr>
        <p:txBody>
          <a:bodyPr>
            <a:normAutofit lnSpcReduction="10000"/>
          </a:bodyPr>
          <a:lstStyle/>
          <a:p>
            <a:pPr lvl="0">
              <a:lnSpc>
                <a:spcPct val="100000"/>
              </a:lnSpc>
            </a:pPr>
            <a:r>
              <a:rPr lang="en-US" sz="1900" b="1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of the worst droughts in recent decades</a:t>
            </a:r>
          </a:p>
          <a:p>
            <a:pPr marL="571500" lvl="1" indent="-342900">
              <a:lnSpc>
                <a:spcPct val="10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ounded by </a:t>
            </a:r>
            <a:r>
              <a:rPr lang="en-US" sz="1900" b="1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ars of conflict and instability</a:t>
            </a:r>
            <a:r>
              <a:rPr lang="en-US" sz="1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</a:p>
          <a:p>
            <a:pPr marL="571500" lvl="1" indent="-342900">
              <a:lnSpc>
                <a:spcPct val="10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act of the </a:t>
            </a:r>
            <a:r>
              <a:rPr lang="en-US" sz="1900" b="1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en-US" sz="1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ndemic </a:t>
            </a:r>
          </a:p>
          <a:p>
            <a:pPr marL="571500" lvl="1" indent="-342900">
              <a:lnSpc>
                <a:spcPct val="100000"/>
              </a:lnSpc>
              <a:spcBef>
                <a:spcPts val="0"/>
              </a:spcBef>
            </a:pPr>
            <a:r>
              <a:rPr lang="en-US" sz="1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ing food prices in part due to the war in Ukraine </a:t>
            </a:r>
          </a:p>
          <a:p>
            <a:pPr marL="342900" lvl="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90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lnSpc>
                <a:spcPct val="100000"/>
              </a:lnSpc>
            </a:pPr>
            <a:r>
              <a:rPr lang="en-GB" sz="19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splacement</a:t>
            </a:r>
            <a:r>
              <a:rPr lang="en-GB" sz="1900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–</a:t>
            </a:r>
            <a:r>
              <a:rPr lang="en-GB" sz="19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earch for food, water, pasture for animals</a:t>
            </a:r>
          </a:p>
          <a:p>
            <a:pPr marL="571500" lvl="1" indent="-342900">
              <a:lnSpc>
                <a:spcPct val="100000"/>
              </a:lnSpc>
            </a:pPr>
            <a:r>
              <a:rPr lang="en-GB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teriorating hygiene and sanitation conditions</a:t>
            </a:r>
          </a:p>
          <a:p>
            <a:pPr marL="571500" lvl="1" indent="-342900">
              <a:lnSpc>
                <a:spcPct val="100000"/>
              </a:lnSpc>
            </a:pPr>
            <a:r>
              <a:rPr lang="en-GB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w vaccination coverage</a:t>
            </a:r>
          </a:p>
          <a:p>
            <a:pPr marL="571500" lvl="1" indent="-342900">
              <a:lnSpc>
                <a:spcPct val="100000"/>
              </a:lnSpc>
            </a:pPr>
            <a:r>
              <a:rPr lang="en-GB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 rates of acute malnutrition and micronutrient deficiency</a:t>
            </a:r>
          </a:p>
          <a:p>
            <a:pPr lvl="1" indent="0">
              <a:lnSpc>
                <a:spcPct val="100000"/>
              </a:lnSpc>
              <a:buNone/>
            </a:pPr>
            <a:r>
              <a:rPr lang="en-GB" sz="19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GB" sz="19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h risk of disease outbreaks</a:t>
            </a:r>
            <a:endParaRPr lang="en-GB" sz="1900" b="1" dirty="0">
              <a:solidFill>
                <a:schemeClr val="accent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-342900">
              <a:lnSpc>
                <a:spcPct val="100000"/>
              </a:lnSpc>
            </a:pPr>
            <a:r>
              <a:rPr lang="en-GB" sz="1900" dirty="0">
                <a:latin typeface="Calibri" panose="020F0502020204030204" pitchFamily="34" charset="0"/>
                <a:cs typeface="Calibri" panose="020F0502020204030204" pitchFamily="34" charset="0"/>
              </a:rPr>
              <a:t>Current focus on measles, cholera, malaria, pneumonia and strengthening communicable disease surveillance and outbreak response</a:t>
            </a:r>
          </a:p>
          <a:p>
            <a:pPr>
              <a:lnSpc>
                <a:spcPct val="100000"/>
              </a:lnSpc>
            </a:pP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E51DC3-E09E-98C7-5F44-4AE0A0653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5684" y="2175101"/>
            <a:ext cx="5156915" cy="30826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CCEC409-1D1D-239A-7A1C-3007DE74A753}"/>
              </a:ext>
            </a:extLst>
          </p:cNvPr>
          <p:cNvSpPr txBox="1"/>
          <p:nvPr/>
        </p:nvSpPr>
        <p:spPr>
          <a:xfrm>
            <a:off x="6654799" y="5442857"/>
            <a:ext cx="5440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dirty="0">
                <a:hlinkClick r:id="rId4"/>
              </a:rPr>
              <a:t>Horn of Africa Drought Data Explorer (humdata.org)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994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64548D-269C-2FBC-D23E-D15ECED12B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733" y="1511041"/>
            <a:ext cx="6176896" cy="5172788"/>
          </a:xfrm>
        </p:spPr>
        <p:txBody>
          <a:bodyPr>
            <a:normAutofit fontScale="92500"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pril 15</a:t>
            </a:r>
            <a:r>
              <a:rPr lang="en-GB" sz="1800" baseline="30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18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flict</a:t>
            </a:r>
            <a:r>
              <a:rPr lang="en-GB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rupted</a:t>
            </a:r>
            <a:r>
              <a:rPr lang="en-GB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As of August </a:t>
            </a:r>
            <a:r>
              <a:rPr lang="en-GB" sz="1800" b="1" dirty="0">
                <a:latin typeface="Calibri" panose="020F0502020204030204" pitchFamily="34" charset="0"/>
                <a:ea typeface="Times New Roman" panose="02020603050405020304" pitchFamily="18" charset="0"/>
                <a:hlinkClick r:id="rId2"/>
              </a:rPr>
              <a:t>5.4m</a:t>
            </a:r>
            <a:r>
              <a:rPr lang="en-GB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 people </a:t>
            </a:r>
            <a:r>
              <a:rPr lang="en-GB" sz="1800" b="1" dirty="0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displaced</a:t>
            </a:r>
            <a:r>
              <a:rPr lang="en-GB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, including 2.2m children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Roughly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2.5 million peop</a:t>
            </a: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le have fled to neighbouring countries: </a:t>
            </a:r>
            <a:r>
              <a:rPr lang="en-GB" sz="1800" b="1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Chad, Egypt, South Sudan, CAR, Ethiopia and Libya</a:t>
            </a: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. Includes refugees and returnees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Health workers</a:t>
            </a:r>
            <a:r>
              <a:rPr lang="en-GB" sz="1800" b="1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and their families affected, many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isplaced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56</a:t>
            </a:r>
            <a:r>
              <a:rPr lang="en-GB" sz="1800" b="1" dirty="0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Attacks on health </a:t>
            </a:r>
            <a:r>
              <a:rPr lang="en-GB" sz="1800" b="1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care </a:t>
            </a:r>
            <a:r>
              <a:rPr lang="en-GB" sz="1800">
                <a:latin typeface="Calibri" panose="020F0502020204030204" pitchFamily="34" charset="0"/>
                <a:ea typeface="Times New Roman" panose="02020603050405020304" pitchFamily="18" charset="0"/>
              </a:rPr>
              <a:t>since April</a:t>
            </a:r>
            <a:endParaRPr lang="en-GB" sz="1800" b="1" dirty="0">
              <a:solidFill>
                <a:schemeClr val="accent3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hifting conflict lines driving further displacement – </a:t>
            </a:r>
            <a:r>
              <a:rPr lang="en-GB" sz="18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ynamic population movements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b="1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umanitarian access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everely impacted – Darfur health facilities not functional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ealth services delivered through health facilities and mobile clinics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Needs assessments have identified priority areas for strengthening </a:t>
            </a:r>
            <a:r>
              <a:rPr lang="en-GB" sz="1800" b="1" dirty="0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maternal newborn health  </a:t>
            </a: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and </a:t>
            </a:r>
            <a:r>
              <a:rPr lang="en-GB" sz="1800" b="1" dirty="0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sexual reproductive health </a:t>
            </a:r>
            <a:r>
              <a:rPr lang="en-GB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and </a:t>
            </a:r>
            <a:r>
              <a:rPr lang="en-GB" sz="1800" b="1" dirty="0">
                <a:solidFill>
                  <a:schemeClr val="accent3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immunization coverage</a:t>
            </a:r>
            <a:endParaRPr lang="en-GB" sz="1800" dirty="0">
              <a:solidFill>
                <a:schemeClr val="accent3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GB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4522D57-EAF3-45D7-B04F-B7E289083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04" y="446314"/>
            <a:ext cx="9528048" cy="947057"/>
          </a:xfrm>
        </p:spPr>
        <p:txBody>
          <a:bodyPr/>
          <a:lstStyle/>
          <a:p>
            <a:r>
              <a:rPr lang="en-GB" dirty="0"/>
              <a:t>Snapshot of Suda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F5BD3A-1EFF-55FB-715A-E6E31086BB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8629" y="1850571"/>
            <a:ext cx="5051412" cy="378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875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924F8-1355-395E-0CA3-BBD9A42A6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ing inequities in child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4DA548-8705-5E16-E6B7-80A479A471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rked disparities in health and social outcomes between children on crisis-affected areas and children in stable, peaceful areas</a:t>
            </a:r>
          </a:p>
          <a:p>
            <a:pPr marL="571500" lvl="1" indent="-342900"/>
            <a:r>
              <a:rPr lang="en-GB" dirty="0"/>
              <a:t>Between countries and between settings within the same coun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rotracted crises are increasingly comm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olutions must focus on maintaining routine preventive and treatment services in crisis contexts</a:t>
            </a:r>
          </a:p>
          <a:p>
            <a:pPr marL="571500" lvl="1" indent="-342900"/>
            <a:r>
              <a:rPr lang="en-GB" dirty="0"/>
              <a:t>Gaps in immunization coverage will require </a:t>
            </a:r>
            <a:r>
              <a:rPr lang="en-GB" i="1" dirty="0"/>
              <a:t>routine catch-up</a:t>
            </a:r>
            <a:r>
              <a:rPr lang="en-GB" dirty="0"/>
              <a:t> schedules to meaningfully improve immunization cover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879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6257"/>
    </mc:Choice>
    <mc:Fallback xmlns="">
      <p:transition spd="slow" advTm="126257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1.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ve the Children Theme">
  <a:themeElements>
    <a:clrScheme name="STC Colours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DA291C"/>
      </a:accent1>
      <a:accent2>
        <a:srgbClr val="D1CCBD"/>
      </a:accent2>
      <a:accent3>
        <a:srgbClr val="9A3324"/>
      </a:accent3>
      <a:accent4>
        <a:srgbClr val="FF6A39"/>
      </a:accent4>
      <a:accent5>
        <a:srgbClr val="F2A900"/>
      </a:accent5>
      <a:accent6>
        <a:srgbClr val="00B2A9"/>
      </a:accent6>
      <a:hlink>
        <a:srgbClr val="E1251B"/>
      </a:hlink>
      <a:folHlink>
        <a:srgbClr val="9A3324"/>
      </a:folHlink>
    </a:clrScheme>
    <a:fontScheme name="Save the Children fonts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accent1"/>
        </a:solidFill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custClrLst>
    <a:custClr name="Green">
      <a:srgbClr val="71CC98"/>
    </a:custClr>
    <a:custClr name="Pink">
      <a:srgbClr val="F8B5C4"/>
    </a:custClr>
    <a:custClr name="Purple">
      <a:srgbClr val="A57FB2"/>
    </a:custClr>
    <a:custClr name="Biscuit 25%">
      <a:srgbClr val="F3F2EE"/>
    </a:custClr>
    <a:custClr name="Light Grey">
      <a:srgbClr val="999999"/>
    </a:custClr>
    <a:custClr name="Dark Grey">
      <a:srgbClr val="4A4F53"/>
    </a:custClr>
  </a:custClrLst>
  <a:extLst>
    <a:ext uri="{05A4C25C-085E-4340-85A3-A5531E510DB2}">
      <thm15:themeFamily xmlns:thm15="http://schemas.microsoft.com/office/thememl/2012/main" name="Presentation Standard Not Embedded Template.potx" id="{4CCC1173-2659-4F2E-B678-431B7248A372}" vid="{FECCCABA-B02B-48DC-9D9F-C31F4D766E47}"/>
    </a:ext>
  </a:extLst>
</a:theme>
</file>

<file path=ppt/theme/theme2.xml><?xml version="1.0" encoding="utf-8"?>
<a:theme xmlns:a="http://schemas.openxmlformats.org/drawingml/2006/main" name="1_Save the Children Theme">
  <a:themeElements>
    <a:clrScheme name="Save the Children Colours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E1251B"/>
      </a:accent1>
      <a:accent2>
        <a:srgbClr val="E7E2D5"/>
      </a:accent2>
      <a:accent3>
        <a:srgbClr val="9A3324"/>
      </a:accent3>
      <a:accent4>
        <a:srgbClr val="FF4D00"/>
      </a:accent4>
      <a:accent5>
        <a:srgbClr val="F5A800"/>
      </a:accent5>
      <a:accent6>
        <a:srgbClr val="0099A8"/>
      </a:accent6>
      <a:hlink>
        <a:srgbClr val="DA291C"/>
      </a:hlink>
      <a:folHlink>
        <a:srgbClr val="9A3324"/>
      </a:folHlink>
    </a:clrScheme>
    <a:fontScheme name="Save the Children fonts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accent1"/>
        </a:solidFill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custClrLst>
    <a:custClr name="Green">
      <a:srgbClr val="4CA585"/>
    </a:custClr>
    <a:custClr name="Pink">
      <a:srgbClr val="F5ACB8"/>
    </a:custClr>
    <a:custClr name="Purple">
      <a:srgbClr val="B487B8"/>
    </a:custClr>
    <a:custClr name="Biscuit 25%">
      <a:srgbClr val="F3F2EE"/>
    </a:custClr>
    <a:custClr name="Light Grey">
      <a:srgbClr val="999999"/>
    </a:custClr>
    <a:custClr name="Dark Grey">
      <a:srgbClr val="4A4F53"/>
    </a:custClr>
  </a:custClrLst>
  <a:extLst>
    <a:ext uri="{05A4C25C-085E-4340-85A3-A5531E510DB2}">
      <thm15:themeFamily xmlns:thm15="http://schemas.microsoft.com/office/thememl/2012/main" name="SCUK 4.potx" id="{54C92407-FB20-455C-8653-A464E1A62228}" vid="{EE82997C-2C2B-4978-8C9F-A1B4E8F65C00}"/>
    </a:ext>
  </a:extLst>
</a:theme>
</file>

<file path=ppt/theme/theme3.xml><?xml version="1.0" encoding="utf-8"?>
<a:theme xmlns:a="http://schemas.openxmlformats.org/drawingml/2006/main" name="Save the Children Grid 16:9 - 18504">
  <a:themeElements>
    <a:clrScheme name="Client Color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DA291C"/>
      </a:accent1>
      <a:accent2>
        <a:srgbClr val="D1CCBD"/>
      </a:accent2>
      <a:accent3>
        <a:srgbClr val="9A3324"/>
      </a:accent3>
      <a:accent4>
        <a:srgbClr val="FF6A39"/>
      </a:accent4>
      <a:accent5>
        <a:srgbClr val="F2A900"/>
      </a:accent5>
      <a:accent6>
        <a:srgbClr val="00B2A9"/>
      </a:accent6>
      <a:hlink>
        <a:srgbClr val="E1251B"/>
      </a:hlink>
      <a:folHlink>
        <a:srgbClr val="9A3324"/>
      </a:folHlink>
    </a:clrScheme>
    <a:fontScheme name="Custom 1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rnd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1">
              <a:lumMod val="5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Save the Children Grid 16:9 - 18504">
  <a:themeElements>
    <a:clrScheme name="Client Color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DA291C"/>
      </a:accent1>
      <a:accent2>
        <a:srgbClr val="D1CCBD"/>
      </a:accent2>
      <a:accent3>
        <a:srgbClr val="9A3324"/>
      </a:accent3>
      <a:accent4>
        <a:srgbClr val="FF6A39"/>
      </a:accent4>
      <a:accent5>
        <a:srgbClr val="F2A900"/>
      </a:accent5>
      <a:accent6>
        <a:srgbClr val="00B2A9"/>
      </a:accent6>
      <a:hlink>
        <a:srgbClr val="E1251B"/>
      </a:hlink>
      <a:folHlink>
        <a:srgbClr val="9A3324"/>
      </a:folHlink>
    </a:clrScheme>
    <a:fontScheme name="Custom 1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 cap="rnd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1">
              <a:lumMod val="5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=""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Save the Children Theme">
  <a:themeElements>
    <a:clrScheme name="STC Colours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DA291C"/>
      </a:accent1>
      <a:accent2>
        <a:srgbClr val="D1CCBD"/>
      </a:accent2>
      <a:accent3>
        <a:srgbClr val="9A3324"/>
      </a:accent3>
      <a:accent4>
        <a:srgbClr val="FF6A39"/>
      </a:accent4>
      <a:accent5>
        <a:srgbClr val="F2A900"/>
      </a:accent5>
      <a:accent6>
        <a:srgbClr val="00B2A9"/>
      </a:accent6>
      <a:hlink>
        <a:srgbClr val="E1251B"/>
      </a:hlink>
      <a:folHlink>
        <a:srgbClr val="9A3324"/>
      </a:folHlink>
    </a:clrScheme>
    <a:fontScheme name="Save the Children fonts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accent1"/>
        </a:solidFill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custClrLst>
    <a:custClr name="Green">
      <a:srgbClr val="71CC98"/>
    </a:custClr>
    <a:custClr name="Pink">
      <a:srgbClr val="F8B5C4"/>
    </a:custClr>
    <a:custClr name="Purple">
      <a:srgbClr val="A57FB2"/>
    </a:custClr>
    <a:custClr name="Biscuit 25%">
      <a:srgbClr val="F3F2EE"/>
    </a:custClr>
    <a:custClr name="Light Grey">
      <a:srgbClr val="999999"/>
    </a:custClr>
    <a:custClr name="Dark Grey">
      <a:srgbClr val="4A4F53"/>
    </a:custClr>
  </a:custClrLst>
  <a:extLst>
    <a:ext uri="{05A4C25C-085E-4340-85A3-A5531E510DB2}">
      <thm15:themeFamily xmlns:thm15="http://schemas.microsoft.com/office/thememl/2012/main" name="SCUK 4.potx" id="{54C92407-FB20-455C-8653-A464E1A62228}" vid="{EE82997C-2C2B-4978-8C9F-A1B4E8F65C00}"/>
    </a:ext>
  </a:extLst>
</a:theme>
</file>

<file path=ppt/theme/theme6.xml><?xml version="1.0" encoding="utf-8"?>
<a:theme xmlns:a="http://schemas.openxmlformats.org/drawingml/2006/main" name="Save the Children Theme">
  <a:themeElements>
    <a:clrScheme name="STC Colours">
      <a:dk1>
        <a:srgbClr val="000000"/>
      </a:dk1>
      <a:lt1>
        <a:srgbClr val="FFFFFF"/>
      </a:lt1>
      <a:dk2>
        <a:srgbClr val="A51414"/>
      </a:dk2>
      <a:lt2>
        <a:srgbClr val="F3F2EE"/>
      </a:lt2>
      <a:accent1>
        <a:srgbClr val="DA291C"/>
      </a:accent1>
      <a:accent2>
        <a:srgbClr val="D1CCBD"/>
      </a:accent2>
      <a:accent3>
        <a:srgbClr val="9A3324"/>
      </a:accent3>
      <a:accent4>
        <a:srgbClr val="FF6A39"/>
      </a:accent4>
      <a:accent5>
        <a:srgbClr val="F2A900"/>
      </a:accent5>
      <a:accent6>
        <a:srgbClr val="00B2A9"/>
      </a:accent6>
      <a:hlink>
        <a:srgbClr val="E1251B"/>
      </a:hlink>
      <a:folHlink>
        <a:srgbClr val="9A3324"/>
      </a:folHlink>
    </a:clrScheme>
    <a:fontScheme name="Save the Children fonts">
      <a:majorFont>
        <a:latin typeface="Oswald Medium"/>
        <a:ea typeface=""/>
        <a:cs typeface=""/>
      </a:majorFont>
      <a:minorFont>
        <a:latin typeface="Lato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accent1"/>
        </a:solidFill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/>
  <a:custClrLst>
    <a:custClr name="Green">
      <a:srgbClr val="71CC98"/>
    </a:custClr>
    <a:custClr name="Pink">
      <a:srgbClr val="F8B5C4"/>
    </a:custClr>
    <a:custClr name="Purple">
      <a:srgbClr val="A57FB2"/>
    </a:custClr>
    <a:custClr name="Biscuit 25%">
      <a:srgbClr val="F3F2EE"/>
    </a:custClr>
    <a:custClr name="Light Grey">
      <a:srgbClr val="999999"/>
    </a:custClr>
    <a:custClr name="Dark Grey">
      <a:srgbClr val="4A4F53"/>
    </a:custClr>
  </a:custClrLst>
  <a:extLst>
    <a:ext uri="{05A4C25C-085E-4340-85A3-A5531E510DB2}">
      <thm15:themeFamily xmlns:thm15="http://schemas.microsoft.com/office/thememl/2012/main" name="SCUK 4.potx" id="{54C92407-FB20-455C-8653-A464E1A62228}" vid="{EE82997C-2C2B-4978-8C9F-A1B4E8F65C00}"/>
    </a:ext>
  </a:extLst>
</a:theme>
</file>

<file path=ppt/theme/themeOverride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1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2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3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4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5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0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1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2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3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4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65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7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8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ppt/theme/themeOverride9.xml><?xml version="1.0" encoding="utf-8"?>
<a:themeOverride xmlns:a="http://schemas.openxmlformats.org/drawingml/2006/main">
  <a:clrScheme name="Client Color">
    <a:dk1>
      <a:srgbClr val="000000"/>
    </a:dk1>
    <a:lt1>
      <a:srgbClr val="FFFFFF"/>
    </a:lt1>
    <a:dk2>
      <a:srgbClr val="A51414"/>
    </a:dk2>
    <a:lt2>
      <a:srgbClr val="F3F2EE"/>
    </a:lt2>
    <a:accent1>
      <a:srgbClr val="DA291C"/>
    </a:accent1>
    <a:accent2>
      <a:srgbClr val="D1CCBD"/>
    </a:accent2>
    <a:accent3>
      <a:srgbClr val="9A3324"/>
    </a:accent3>
    <a:accent4>
      <a:srgbClr val="FF6A39"/>
    </a:accent4>
    <a:accent5>
      <a:srgbClr val="F2A900"/>
    </a:accent5>
    <a:accent6>
      <a:srgbClr val="00B2A9"/>
    </a:accent6>
    <a:hlink>
      <a:srgbClr val="E1251B"/>
    </a:hlink>
    <a:folHlink>
      <a:srgbClr val="9A332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cf48dc5-2e8b-4afd-89df-9f5013a3beda">
      <Terms xmlns="http://schemas.microsoft.com/office/infopath/2007/PartnerControls"/>
    </lcf76f155ced4ddcb4097134ff3c332f>
    <TaxCatchAll xmlns="b1a25d56-6f3d-4cf9-8f75-af00573b6dbd" xsi:nil="true"/>
    <SharedWithUsers xmlns="9660b9fa-922c-41e7-877c-fb5824e63746">
      <UserInfo>
        <DisplayName>Cilliers, Ulrika</DisplayName>
        <AccountId>8295</AccountId>
        <AccountType/>
      </UserInfo>
      <UserInfo>
        <DisplayName>Stephenson, Hannah</DisplayName>
        <AccountId>3891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10536799B09045BAFBD1851E029B74" ma:contentTypeVersion="15" ma:contentTypeDescription="Create a new document." ma:contentTypeScope="" ma:versionID="a1a7b872c7bf44ca248e6bc0313698b8">
  <xsd:schema xmlns:xsd="http://www.w3.org/2001/XMLSchema" xmlns:xs="http://www.w3.org/2001/XMLSchema" xmlns:p="http://schemas.microsoft.com/office/2006/metadata/properties" xmlns:ns2="1cf48dc5-2e8b-4afd-89df-9f5013a3beda" xmlns:ns3="9660b9fa-922c-41e7-877c-fb5824e63746" xmlns:ns4="b1a25d56-6f3d-4cf9-8f75-af00573b6dbd" targetNamespace="http://schemas.microsoft.com/office/2006/metadata/properties" ma:root="true" ma:fieldsID="7f48c33e6db36c5c2c7a421c208f8656" ns2:_="" ns3:_="" ns4:_="">
    <xsd:import namespace="1cf48dc5-2e8b-4afd-89df-9f5013a3beda"/>
    <xsd:import namespace="9660b9fa-922c-41e7-877c-fb5824e63746"/>
    <xsd:import namespace="b1a25d56-6f3d-4cf9-8f75-af00573b6d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48dc5-2e8b-4afd-89df-9f5013a3be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b23ec234-cbf3-4cc2-a0ae-2bfafc310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60b9fa-922c-41e7-877c-fb5824e63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a25d56-6f3d-4cf9-8f75-af00573b6dbd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a8111fc-5c16-4eb1-93a6-444563e7ca40}" ma:internalName="TaxCatchAll" ma:showField="CatchAllData" ma:web="9660b9fa-922c-41e7-877c-fb5824e637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6D139-FD6F-4135-A287-68D3B79CCC59}">
  <ds:schemaRefs>
    <ds:schemaRef ds:uri="1cf48dc5-2e8b-4afd-89df-9f5013a3beda"/>
    <ds:schemaRef ds:uri="9660b9fa-922c-41e7-877c-fb5824e63746"/>
    <ds:schemaRef ds:uri="b1a25d56-6f3d-4cf9-8f75-af00573b6db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6645701-4CED-4ADE-91C9-04DE71980549}">
  <ds:schemaRefs>
    <ds:schemaRef ds:uri="1cf48dc5-2e8b-4afd-89df-9f5013a3beda"/>
    <ds:schemaRef ds:uri="9660b9fa-922c-41e7-877c-fb5824e63746"/>
    <ds:schemaRef ds:uri="b1a25d56-6f3d-4cf9-8f75-af00573b6db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C963D4A-77E1-488A-A298-28205DD54C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1673930_Power_Point_Presentation_Template_169</Template>
  <TotalTime>465</TotalTime>
  <Words>703</Words>
  <Application>Microsoft Office PowerPoint</Application>
  <PresentationFormat>Widescreen</PresentationFormat>
  <Paragraphs>91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Arial</vt:lpstr>
      <vt:lpstr>Calibri</vt:lpstr>
      <vt:lpstr>Gill Sans Infant MT</vt:lpstr>
      <vt:lpstr>Gill Sans Infant Std</vt:lpstr>
      <vt:lpstr>Lato</vt:lpstr>
      <vt:lpstr>Oswald Medium</vt:lpstr>
      <vt:lpstr>Symbol</vt:lpstr>
      <vt:lpstr>Trebuchet MS</vt:lpstr>
      <vt:lpstr>Save the Children Theme</vt:lpstr>
      <vt:lpstr>1_Save the Children Theme</vt:lpstr>
      <vt:lpstr>Save the Children Grid 16:9 - 18504</vt:lpstr>
      <vt:lpstr>Save the Children Grid 16:9 - 18504</vt:lpstr>
      <vt:lpstr>think-cell Slide</vt:lpstr>
      <vt:lpstr>Recent public health emergency trends in Africa</vt:lpstr>
      <vt:lpstr>PowerPoint Presentation</vt:lpstr>
      <vt:lpstr>Impacts of public health emergencies on children</vt:lpstr>
      <vt:lpstr>PowerPoint Presentation</vt:lpstr>
      <vt:lpstr>PowerPoint Presentation</vt:lpstr>
      <vt:lpstr>Globally: A child survival crisis</vt:lpstr>
      <vt:lpstr>Greater Horn of Africa 2023</vt:lpstr>
      <vt:lpstr>Snapshot of Sudan </vt:lpstr>
      <vt:lpstr>Reducing inequities in child health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enson, Hannah</dc:creator>
  <cp:lastModifiedBy>Kadir, Ayesha</cp:lastModifiedBy>
  <cp:revision>161</cp:revision>
  <dcterms:created xsi:type="dcterms:W3CDTF">2023-07-05T17:08:51Z</dcterms:created>
  <dcterms:modified xsi:type="dcterms:W3CDTF">2023-10-03T11:3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10536799B09045BAFBD1851E029B74</vt:lpwstr>
  </property>
  <property fmtid="{D5CDD505-2E9C-101B-9397-08002B2CF9AE}" pid="3" name="MediaServiceImageTags">
    <vt:lpwstr/>
  </property>
</Properties>
</file>